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9.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10.xml" ContentType="application/vnd.openxmlformats-officedocument.theme+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tags/tag57.xml" ContentType="application/vnd.openxmlformats-officedocument.presentationml.tags+xml"/>
  <Override PartName="/ppt/notesSlides/notesSlide6.xml" ContentType="application/vnd.openxmlformats-officedocument.presentationml.notesSlide+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9.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76" r:id="rId6"/>
    <p:sldMasterId id="2147483795" r:id="rId7"/>
    <p:sldMasterId id="2147483858" r:id="rId8"/>
    <p:sldMasterId id="2147483873" r:id="rId9"/>
    <p:sldMasterId id="2147484078" r:id="rId10"/>
    <p:sldMasterId id="2147484091" r:id="rId11"/>
    <p:sldMasterId id="2147484106" r:id="rId12"/>
  </p:sldMasterIdLst>
  <p:notesMasterIdLst>
    <p:notesMasterId r:id="rId39"/>
  </p:notesMasterIdLst>
  <p:sldIdLst>
    <p:sldId id="2147378485" r:id="rId13"/>
    <p:sldId id="2147378441" r:id="rId14"/>
    <p:sldId id="2147378792" r:id="rId15"/>
    <p:sldId id="2147378447" r:id="rId16"/>
    <p:sldId id="2147378466" r:id="rId17"/>
    <p:sldId id="2147378472" r:id="rId18"/>
    <p:sldId id="2147378566" r:id="rId19"/>
    <p:sldId id="2147378553" r:id="rId20"/>
    <p:sldId id="2147378567" r:id="rId21"/>
    <p:sldId id="2147378499" r:id="rId22"/>
    <p:sldId id="2147378789" r:id="rId23"/>
    <p:sldId id="2147378719" r:id="rId24"/>
    <p:sldId id="2147378721" r:id="rId25"/>
    <p:sldId id="2147378791" r:id="rId26"/>
    <p:sldId id="588" r:id="rId27"/>
    <p:sldId id="2147378738" r:id="rId28"/>
    <p:sldId id="2145707016" r:id="rId29"/>
    <p:sldId id="2145707061" r:id="rId30"/>
    <p:sldId id="2147378790" r:id="rId31"/>
    <p:sldId id="2147378745" r:id="rId32"/>
    <p:sldId id="2147378746" r:id="rId33"/>
    <p:sldId id="2147378757" r:id="rId34"/>
    <p:sldId id="2147378758" r:id="rId35"/>
    <p:sldId id="2147378759" r:id="rId36"/>
    <p:sldId id="2147378729" r:id="rId37"/>
    <p:sldId id="2147378722" r:id="rId38"/>
  </p:sldIdLst>
  <p:sldSz cx="12192000" cy="6858000"/>
  <p:notesSz cx="6858000" cy="9144000"/>
  <p:custDataLst>
    <p:tags r:id="rId40"/>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C3BF07-54AB-472B-9EDF-1929EAF2347B}">
          <p14:sldIdLst>
            <p14:sldId id="2147378485"/>
            <p14:sldId id="2147378441"/>
          </p14:sldIdLst>
        </p14:section>
        <p14:section name="Guiding coalition" id="{7F556EDE-96CB-430F-9B13-7129400B0B00}">
          <p14:sldIdLst>
            <p14:sldId id="2147378792"/>
            <p14:sldId id="2147378447"/>
            <p14:sldId id="2147378466"/>
            <p14:sldId id="2147378472"/>
            <p14:sldId id="2147378566"/>
            <p14:sldId id="2147378553"/>
            <p14:sldId id="2147378567"/>
            <p14:sldId id="2147378499"/>
            <p14:sldId id="2147378789"/>
            <p14:sldId id="2147378719"/>
            <p14:sldId id="2147378721"/>
          </p14:sldIdLst>
        </p14:section>
        <p14:section name="Data Strategy" id="{FF0D7CA9-5285-49AA-AE93-0EDBE1470E44}">
          <p14:sldIdLst>
            <p14:sldId id="2147378791"/>
            <p14:sldId id="588"/>
            <p14:sldId id="2147378738"/>
            <p14:sldId id="2145707016"/>
            <p14:sldId id="2145707061"/>
            <p14:sldId id="2147378790"/>
            <p14:sldId id="2147378745"/>
            <p14:sldId id="2147378746"/>
            <p14:sldId id="2147378757"/>
            <p14:sldId id="2147378758"/>
            <p14:sldId id="2147378759"/>
          </p14:sldIdLst>
        </p14:section>
        <p14:section name="RAFT" id="{61AE85D0-D3E4-47DC-9D8F-BC998664B513}">
          <p14:sldIdLst>
            <p14:sldId id="2147378729"/>
            <p14:sldId id="214737872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nce Cameron" initials="LC" lastIdx="2" clrIdx="0">
    <p:extLst>
      <p:ext uri="{19B8F6BF-5375-455C-9EA6-DF929625EA0E}">
        <p15:presenceInfo xmlns:p15="http://schemas.microsoft.com/office/powerpoint/2012/main" userId="S::Lance.Cameron@nl.ey.com::54673115-9996-4fae-b6be-68b1898416f6" providerId="AD"/>
      </p:ext>
    </p:extLst>
  </p:cmAuthor>
  <p:cmAuthor id="2" name="Ted Mustafaraj" initials="TM" lastIdx="1" clrIdx="1">
    <p:extLst>
      <p:ext uri="{19B8F6BF-5375-455C-9EA6-DF929625EA0E}">
        <p15:presenceInfo xmlns:p15="http://schemas.microsoft.com/office/powerpoint/2012/main" userId="S::Ted.Mustafaraj@nl.ey.com::e4d9a76f-b199-4b4e-855b-79da0d5af943" providerId="AD"/>
      </p:ext>
    </p:extLst>
  </p:cmAuthor>
  <p:cmAuthor id="3" name="Simon van Oppen" initials="SvO" lastIdx="7" clrIdx="2">
    <p:extLst>
      <p:ext uri="{19B8F6BF-5375-455C-9EA6-DF929625EA0E}">
        <p15:presenceInfo xmlns:p15="http://schemas.microsoft.com/office/powerpoint/2012/main" userId="S::Simon.van.Oppen@nl.ey.com::90166e1b-5f5b-4187-9fd5-cefcedc131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69B4"/>
    <a:srgbClr val="CBD4E5"/>
    <a:srgbClr val="B9B9BF"/>
    <a:srgbClr val="F2F2F2"/>
    <a:srgbClr val="2286C7"/>
    <a:srgbClr val="0073BE"/>
    <a:srgbClr val="0371B9"/>
    <a:srgbClr val="FFFFFF"/>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AFDD8D-45CB-49B1-9FB7-817ADADBD35F}" v="4094" dt="2022-09-02T13:01:03.542"/>
    <p1510:client id="{4A244519-FAD7-4D30-AFAD-8FEA9E82C040}" v="2714" dt="2022-09-02T13:01:45.4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2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015934-996F-4838-9322-B3A203109E22}" type="datetimeFigureOut">
              <a:rPr lang="de-DE" smtClean="0"/>
              <a:t>05.09.2022</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693492-A052-47CB-8AB0-92FD6328A70E}" type="slidenum">
              <a:rPr lang="de-DE" smtClean="0"/>
              <a:t>‹#›</a:t>
            </a:fld>
            <a:endParaRPr lang="de-DE"/>
          </a:p>
        </p:txBody>
      </p:sp>
    </p:spTree>
    <p:extLst>
      <p:ext uri="{BB962C8B-B14F-4D97-AF65-F5344CB8AC3E}">
        <p14:creationId xmlns:p14="http://schemas.microsoft.com/office/powerpoint/2010/main" val="3869328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09E180-CF4D-435A-A3B9-78EA74B71A7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087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5420B8-E635-4D94-BF3B-FAD8B86B05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837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5420B8-E635-4D94-BF3B-FAD8B86B05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246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108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82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4012557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605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2418181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29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ct val="0"/>
              </a:spcBef>
              <a:buClr>
                <a:srgbClr val="808080"/>
              </a:buClr>
              <a:buFont typeface="Arial" panose="020B0604020202020204" pitchFamily="34" charset="0"/>
              <a:buNone/>
            </a:pPr>
            <a:endParaRPr lang="en-US" sz="1200" noProof="1"/>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86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102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2.emf"/></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5.emf"/><Relationship Id="rId5" Type="http://schemas.openxmlformats.org/officeDocument/2006/relationships/oleObject" Target="../embeddings/oleObject15.bin"/><Relationship Id="rId4" Type="http://schemas.openxmlformats.org/officeDocument/2006/relationships/image" Target="../media/image26.jpe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32.xml"/><Relationship Id="rId5" Type="http://schemas.openxmlformats.org/officeDocument/2006/relationships/image" Target="../media/image28.jpeg"/><Relationship Id="rId4" Type="http://schemas.openxmlformats.org/officeDocument/2006/relationships/image" Target="../media/image25.emf"/></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5.emf"/><Relationship Id="rId5" Type="http://schemas.openxmlformats.org/officeDocument/2006/relationships/oleObject" Target="../embeddings/oleObject17.bin"/><Relationship Id="rId4" Type="http://schemas.openxmlformats.org/officeDocument/2006/relationships/image" Target="../media/image29.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30.jpeg"/><Relationship Id="rId5" Type="http://schemas.openxmlformats.org/officeDocument/2006/relationships/image" Target="../media/image25.emf"/><Relationship Id="rId4" Type="http://schemas.openxmlformats.org/officeDocument/2006/relationships/oleObject" Target="../embeddings/oleObject18.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1.jpeg"/><Relationship Id="rId5" Type="http://schemas.openxmlformats.org/officeDocument/2006/relationships/image" Target="../media/image25.emf"/><Relationship Id="rId4" Type="http://schemas.openxmlformats.org/officeDocument/2006/relationships/oleObject" Target="../embeddings/oleObject19.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5.emf"/><Relationship Id="rId5" Type="http://schemas.openxmlformats.org/officeDocument/2006/relationships/oleObject" Target="../embeddings/oleObject20.bin"/><Relationship Id="rId4" Type="http://schemas.openxmlformats.org/officeDocument/2006/relationships/image" Target="../media/image33.jpeg"/></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image" Target="../media/image34.jpe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44.xml"/><Relationship Id="rId4" Type="http://schemas.openxmlformats.org/officeDocument/2006/relationships/image" Target="../media/image12.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8.emf"/><Relationship Id="rId4" Type="http://schemas.openxmlformats.org/officeDocument/2006/relationships/oleObject" Target="../embeddings/oleObject24.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2.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36019601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997250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90153228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07075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24431919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256187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36671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2"/>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307449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15279747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en-US"/>
              <a:t>Click to edit Master title style</a:t>
            </a:r>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55530480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635670511"/>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72800436"/>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4521761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en-US"/>
              <a:t>Click icon to add picture</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3161990431"/>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23629762"/>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6" name="Rectangle 3">
            <a:extLst>
              <a:ext uri="{FF2B5EF4-FFF2-40B4-BE49-F238E27FC236}">
                <a16:creationId xmlns:a16="http://schemas.microsoft.com/office/drawing/2014/main" id="{EC16DB9C-26B9-41CE-A127-2109A267A9B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14731442"/>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4396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4" name="Rectangle 3">
            <a:extLst>
              <a:ext uri="{FF2B5EF4-FFF2-40B4-BE49-F238E27FC236}">
                <a16:creationId xmlns:a16="http://schemas.microsoft.com/office/drawing/2014/main" id="{C5332697-6497-46D5-B15B-2A10D4356243}"/>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28479584"/>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en-US"/>
              <a:t>Click icon to add chart</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3B11A42-AA8E-4E52-81E3-41213D91E4F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98754013"/>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en-US"/>
              <a:t>Click icon to add chart</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en-US"/>
              <a:t>Click icon to add chart</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A82A3887-D000-42D8-B495-979F3B7B93A1}"/>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8825704"/>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0"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701385B-1472-4FD0-A714-B8ECCDF64E99}"/>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829785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en-US"/>
              <a:t>Click icon to add chart</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1"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923CB7B-922D-44A6-B6CE-9D3F93EA432D}"/>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7902163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en-US"/>
              <a:t>Click icon to add chart</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2"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3AF2D0C2-83EC-4C53-91C7-3F7427ADDFC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20676293"/>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en-US"/>
              <a:t>Click icon to add picture</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25AF3D32-F391-4EF5-AF02-19F52E64307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7536105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69929999"/>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en-US"/>
              <a:t>Click icon to add chart</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en-US"/>
              <a:t>Click icon to add picture</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9"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9A45DED-12C6-4556-AED7-4487E291DD7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15653425"/>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79417F9-0A53-4521-A6B4-A656E99DE2CC}"/>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02383848"/>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6D1B1241-2629-4DC2-AEDD-A5F2BD20EF88}"/>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731236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20613B4-5379-4006-ACAC-FF3404B33EA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992659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en-US"/>
              <a:t>Click to edit Master text styles</a:t>
            </a:r>
          </a:p>
          <a:p>
            <a:pPr lvl="1"/>
            <a:r>
              <a:rPr lang="en-US"/>
              <a:t>Second level</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4"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B0C8BCA0-F792-43F9-BB14-CFC19A2035A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0398512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580303085"/>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73025912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7627883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93567286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663400191"/>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25579257"/>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01314800"/>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3126885562"/>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01159699"/>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39401015"/>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48822147"/>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33875212"/>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9477393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83216541"/>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84884922"/>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3350622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5228021"/>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7717973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63408975"/>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74086445"/>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218133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8272248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4960412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61134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5978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58139011"/>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2436259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16145050"/>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96724888"/>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91535479"/>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72779635"/>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9502641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60875651"/>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2958577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25216228"/>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5391810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4439048"/>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9228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48933770"/>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5903137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25717399"/>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30177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0440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61863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1464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09499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40232522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81401076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8383358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85778380"/>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6947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374939354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190793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39787081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71343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60032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2"/>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38485897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374436517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23619" y="777600"/>
            <a:ext cx="736577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9" y="1753200"/>
            <a:ext cx="7365771"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p:nvGrpSpPr>
        <p:grpSpPr>
          <a:xfrm>
            <a:off x="-8708" y="2405084"/>
            <a:ext cx="12200709"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pic>
        <p:nvPicPr>
          <p:cNvPr id="10" name="Picture 9" descr="EY_Logo2.emf"/>
          <p:cNvPicPr>
            <a:picLocks noChangeAspect="1"/>
          </p:cNvPicPr>
          <p:nvPr/>
        </p:nvPicPr>
        <p:blipFill>
          <a:blip r:embed="rId3" cstate="print"/>
          <a:stretch>
            <a:fillRect/>
          </a:stretch>
        </p:blipFill>
        <p:spPr>
          <a:xfrm>
            <a:off x="3023622" y="5754254"/>
            <a:ext cx="1318871" cy="749808"/>
          </a:xfrm>
          <a:prstGeom prst="rect">
            <a:avLst/>
          </a:prstGeom>
        </p:spPr>
      </p:pic>
    </p:spTree>
    <p:extLst>
      <p:ext uri="{BB962C8B-B14F-4D97-AF65-F5344CB8AC3E}">
        <p14:creationId xmlns:p14="http://schemas.microsoft.com/office/powerpoint/2010/main" val="34355030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p:nvSpPr>
        <p:spPr>
          <a:xfrm>
            <a:off x="-12192" y="3000391"/>
            <a:ext cx="3048000"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646464"/>
              </a:solidFill>
              <a:cs typeface="Arial" pitchFamily="34" charset="0"/>
            </a:endParaRPr>
          </a:p>
        </p:txBody>
      </p:sp>
      <p:sp>
        <p:nvSpPr>
          <p:cNvPr id="2" name="Title 1"/>
          <p:cNvSpPr>
            <a:spLocks noGrp="1"/>
          </p:cNvSpPr>
          <p:nvPr>
            <p:ph type="ctrTitle"/>
          </p:nvPr>
        </p:nvSpPr>
        <p:spPr>
          <a:xfrm>
            <a:off x="3023626" y="777600"/>
            <a:ext cx="7399439"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26" y="1753200"/>
            <a:ext cx="7399439"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p:nvSpPr>
        <p:spPr bwMode="gray">
          <a:xfrm>
            <a:off x="3030970" y="2405090"/>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7" name="TextBox 6"/>
          <p:cNvSpPr txBox="1"/>
          <p:nvPr/>
        </p:nvSpPr>
        <p:spPr>
          <a:xfrm>
            <a:off x="87092" y="4047900"/>
            <a:ext cx="2381045" cy="664797"/>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en-US" sz="1600" b="1">
                <a:solidFill>
                  <a:srgbClr val="FFE600"/>
                </a:solidFill>
                <a:cs typeface="Arial" pitchFamily="34" charset="0"/>
              </a:rPr>
              <a:t>Placeholder image — to replace this image, select View&gt;Notes Page</a:t>
            </a:r>
          </a:p>
        </p:txBody>
      </p:sp>
      <p:pic>
        <p:nvPicPr>
          <p:cNvPr id="9" name="Picture 8" descr="EY_Logo2.emf"/>
          <p:cNvPicPr>
            <a:picLocks noChangeAspect="1"/>
          </p:cNvPicPr>
          <p:nvPr/>
        </p:nvPicPr>
        <p:blipFill>
          <a:blip r:embed="rId3" cstate="print"/>
          <a:stretch>
            <a:fillRect/>
          </a:stretch>
        </p:blipFill>
        <p:spPr>
          <a:xfrm>
            <a:off x="3023622" y="5754254"/>
            <a:ext cx="1318871" cy="749808"/>
          </a:xfrm>
          <a:prstGeom prst="rect">
            <a:avLst/>
          </a:prstGeom>
        </p:spPr>
      </p:pic>
    </p:spTree>
    <p:extLst>
      <p:ext uri="{BB962C8B-B14F-4D97-AF65-F5344CB8AC3E}">
        <p14:creationId xmlns:p14="http://schemas.microsoft.com/office/powerpoint/2010/main" val="17986356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5745846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0" y="1425606"/>
            <a:ext cx="10972800" cy="4698977"/>
          </a:xfr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Tree>
    <p:extLst>
      <p:ext uri="{BB962C8B-B14F-4D97-AF65-F5344CB8AC3E}">
        <p14:creationId xmlns:p14="http://schemas.microsoft.com/office/powerpoint/2010/main" val="30249606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12501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600" y="1426472"/>
            <a:ext cx="5384800" cy="4698111"/>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426472"/>
            <a:ext cx="5384800" cy="4698111"/>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12"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Tree>
    <p:extLst>
      <p:ext uri="{BB962C8B-B14F-4D97-AF65-F5344CB8AC3E}">
        <p14:creationId xmlns:p14="http://schemas.microsoft.com/office/powerpoint/2010/main" val="183368381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p:nvSpPr>
        <p:spPr bwMode="gray">
          <a:xfrm>
            <a:off x="609600" y="1039819"/>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Tree>
    <p:extLst>
      <p:ext uri="{BB962C8B-B14F-4D97-AF65-F5344CB8AC3E}">
        <p14:creationId xmlns:p14="http://schemas.microsoft.com/office/powerpoint/2010/main" val="404592600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p:nvSpPr>
        <p:spPr bwMode="gray">
          <a:xfrm>
            <a:off x="609600" y="1040401"/>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Tree>
    <p:extLst>
      <p:ext uri="{BB962C8B-B14F-4D97-AF65-F5344CB8AC3E}">
        <p14:creationId xmlns:p14="http://schemas.microsoft.com/office/powerpoint/2010/main" val="6051919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pic>
        <p:nvPicPr>
          <p:cNvPr id="6" name="Picture 2"/>
          <p:cNvPicPr>
            <a:picLocks noChangeAspect="1" noChangeArrowheads="1"/>
          </p:cNvPicPr>
          <p:nvPr/>
        </p:nvPicPr>
        <p:blipFill>
          <a:blip r:embed="rId2" cstate="print"/>
          <a:srcRect/>
          <a:stretch>
            <a:fillRect/>
          </a:stretch>
        </p:blipFill>
        <p:spPr bwMode="auto">
          <a:xfrm>
            <a:off x="609610"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16068675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49102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ig Title, No Tag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49913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8" name="Content Placeholder 7"/>
          <p:cNvSpPr>
            <a:spLocks noGrp="1"/>
          </p:cNvSpPr>
          <p:nvPr>
            <p:ph sz="quarter" idx="14"/>
          </p:nvPr>
        </p:nvSpPr>
        <p:spPr bwMode="gray">
          <a:xfrm>
            <a:off x="676931" y="1337623"/>
            <a:ext cx="10823660" cy="48335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bwMode="gray">
          <a:xfrm>
            <a:off x="676932" y="643616"/>
            <a:ext cx="10821849" cy="555079"/>
          </a:xfrm>
        </p:spPr>
        <p:txBody>
          <a:bodyPr/>
          <a:lstStyle>
            <a:lvl1pPr>
              <a:lnSpc>
                <a:spcPct val="90000"/>
              </a:lnSpc>
              <a:defRPr/>
            </a:lvl1pPr>
          </a:lstStyle>
          <a:p>
            <a:r>
              <a:rPr lang="en-US"/>
              <a:t>Click to edit Master title style</a:t>
            </a:r>
            <a:endParaRPr lang="en-GB"/>
          </a:p>
        </p:txBody>
      </p:sp>
      <p:sp>
        <p:nvSpPr>
          <p:cNvPr id="6" name="Slide Number Placeholder 5"/>
          <p:cNvSpPr>
            <a:spLocks noGrp="1"/>
          </p:cNvSpPr>
          <p:nvPr>
            <p:ph type="sldNum" sz="quarter" idx="12"/>
          </p:nvPr>
        </p:nvSpPr>
        <p:spPr bwMode="gray">
          <a:xfrm>
            <a:off x="10961215" y="6395808"/>
            <a:ext cx="553853" cy="130607"/>
          </a:xfrm>
          <a:prstGeom prst="rect">
            <a:avLst/>
          </a:prstGeom>
        </p:spPr>
        <p:txBody>
          <a:bodyPr lIns="80147" tIns="40074" rIns="80147" bIns="40074"/>
          <a:lstStyle/>
          <a:p>
            <a:pPr algn="ctr" eaLnBrk="0" fontAlgn="base" hangingPunct="0">
              <a:spcBef>
                <a:spcPct val="0"/>
              </a:spcBef>
              <a:spcAft>
                <a:spcPct val="0"/>
              </a:spcAft>
            </a:pPr>
            <a:fld id="{F9A56513-F998-4254-9CEB-F507EE6F3742}" type="slidenum">
              <a:rPr lang="en-GB" smtClean="0">
                <a:solidFill>
                  <a:prstClr val="black">
                    <a:tint val="75000"/>
                  </a:prstClr>
                </a:solidFill>
              </a:rPr>
              <a:pPr algn="ctr" eaLnBrk="0" fontAlgn="base" hangingPunct="0">
                <a:spcBef>
                  <a:spcPct val="0"/>
                </a:spcBef>
                <a:spcAft>
                  <a:spcPct val="0"/>
                </a:spcAft>
              </a:pPr>
              <a:t>‹#›</a:t>
            </a:fld>
            <a:endParaRPr lang="en-GB">
              <a:solidFill>
                <a:prstClr val="black">
                  <a:tint val="75000"/>
                </a:prstClr>
              </a:solidFill>
            </a:endParaRPr>
          </a:p>
        </p:txBody>
      </p:sp>
    </p:spTree>
    <p:extLst>
      <p:ext uri="{BB962C8B-B14F-4D97-AF65-F5344CB8AC3E}">
        <p14:creationId xmlns:p14="http://schemas.microsoft.com/office/powerpoint/2010/main" val="15715768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22528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9975355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85" b="1" i="0">
                <a:solidFill>
                  <a:srgbClr val="808080"/>
                </a:solidFill>
                <a:latin typeface="Arial"/>
                <a:cs typeface="Arial"/>
              </a:defRPr>
            </a:lvl1pPr>
          </a:lstStyle>
          <a:p>
            <a:endParaRPr/>
          </a:p>
        </p:txBody>
      </p:sp>
      <p:sp>
        <p:nvSpPr>
          <p:cNvPr id="3" name="Holder 3"/>
          <p:cNvSpPr>
            <a:spLocks noGrp="1"/>
          </p:cNvSpPr>
          <p:nvPr>
            <p:ph type="body" idx="1"/>
          </p:nvPr>
        </p:nvSpPr>
        <p:spPr>
          <a:xfrm>
            <a:off x="2844803" y="1828800"/>
            <a:ext cx="6502400" cy="3352800"/>
          </a:xfrm>
          <a:prstGeom prst="rect">
            <a:avLst/>
          </a:prstGeom>
        </p:spPr>
        <p:txBody>
          <a:bodyPr lIns="0" tIns="0" rIns="0" bIns="0"/>
          <a:lstStyle>
            <a:lvl1pPr>
              <a:defRPr sz="943" b="1" i="0">
                <a:solidFill>
                  <a:schemeClr val="bg1"/>
                </a:solidFill>
                <a:latin typeface="Arial"/>
                <a:cs typeface="Arial"/>
              </a:defRPr>
            </a:lvl1pPr>
          </a:lstStyle>
          <a:p>
            <a:endParaRPr/>
          </a:p>
        </p:txBody>
      </p:sp>
      <p:sp>
        <p:nvSpPr>
          <p:cNvPr id="4" name="Holder 4"/>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861896"/>
            <a:endParaRPr lang="en-GB" sz="1796">
              <a:solidFill>
                <a:srgbClr val="7F7E82">
                  <a:tint val="75000"/>
                </a:srgbClr>
              </a:solidFill>
            </a:endParaRPr>
          </a:p>
        </p:txBody>
      </p:sp>
      <p:sp>
        <p:nvSpPr>
          <p:cNvPr id="5" name="Holder 5"/>
          <p:cNvSpPr>
            <a:spLocks noGrp="1"/>
          </p:cNvSpPr>
          <p:nvPr>
            <p:ph type="dt" sz="half" idx="6"/>
          </p:nvPr>
        </p:nvSpPr>
        <p:spPr>
          <a:xfrm>
            <a:off x="609600" y="6377942"/>
            <a:ext cx="2804160" cy="342900"/>
          </a:xfrm>
          <a:prstGeom prst="rect">
            <a:avLst/>
          </a:prstGeom>
        </p:spPr>
        <p:txBody>
          <a:bodyPr lIns="0" tIns="0" rIns="0" bIns="0"/>
          <a:lstStyle>
            <a:lvl1pPr algn="l">
              <a:defRPr>
                <a:solidFill>
                  <a:schemeClr val="tx1">
                    <a:tint val="75000"/>
                  </a:schemeClr>
                </a:solidFill>
              </a:defRPr>
            </a:lvl1pPr>
          </a:lstStyle>
          <a:p>
            <a:pPr defTabSz="861896"/>
            <a:fld id="{1D8BD707-D9CF-40AE-B4C6-C98DA3205C09}" type="datetimeFigureOut">
              <a:rPr lang="en-US" sz="1796" smtClean="0">
                <a:solidFill>
                  <a:srgbClr val="7F7E82">
                    <a:tint val="75000"/>
                  </a:srgbClr>
                </a:solidFill>
              </a:rPr>
              <a:pPr defTabSz="861896"/>
              <a:t>9/5/2022</a:t>
            </a:fld>
            <a:endParaRPr lang="en-US" sz="1796">
              <a:solidFill>
                <a:srgbClr val="7F7E82">
                  <a:tint val="75000"/>
                </a:srgbClr>
              </a:solidFill>
            </a:endParaRPr>
          </a:p>
        </p:txBody>
      </p:sp>
      <p:sp>
        <p:nvSpPr>
          <p:cNvPr id="6" name="Holder 6"/>
          <p:cNvSpPr>
            <a:spLocks noGrp="1"/>
          </p:cNvSpPr>
          <p:nvPr>
            <p:ph type="sldNum" sz="quarter" idx="7"/>
          </p:nvPr>
        </p:nvSpPr>
        <p:spPr>
          <a:xfrm>
            <a:off x="592667" y="6432210"/>
            <a:ext cx="746759" cy="171450"/>
          </a:xfrm>
          <a:prstGeom prst="rect">
            <a:avLst/>
          </a:prstGeom>
        </p:spPr>
        <p:txBody>
          <a:bodyPr lIns="0" tIns="0" rIns="0" bIns="0"/>
          <a:lstStyle>
            <a:lvl1pPr>
              <a:defRPr sz="943" b="0" i="0">
                <a:solidFill>
                  <a:srgbClr val="808080"/>
                </a:solidFill>
                <a:latin typeface="Arial"/>
                <a:cs typeface="Arial"/>
              </a:defRPr>
            </a:lvl1pPr>
          </a:lstStyle>
          <a:p>
            <a:pPr marL="11570" defTabSz="861896">
              <a:lnSpc>
                <a:spcPts val="1006"/>
              </a:lnSpc>
            </a:pPr>
            <a:r>
              <a:rPr lang="tr-TR" spc="-5"/>
              <a:t>Page</a:t>
            </a:r>
            <a:r>
              <a:rPr lang="tr-TR" spc="-96"/>
              <a:t> </a:t>
            </a:r>
            <a:fld id="{81D60167-4931-47E6-BA6A-407CBD079E47}" type="slidenum">
              <a:rPr lang="tr-TR" spc="-5" smtClean="0"/>
              <a:pPr marL="11570" defTabSz="861896">
                <a:lnSpc>
                  <a:spcPts val="1006"/>
                </a:lnSpc>
              </a:pPr>
              <a:t>‹#›</a:t>
            </a:fld>
            <a:endParaRPr lang="tr-TR" spc="-5"/>
          </a:p>
        </p:txBody>
      </p:sp>
    </p:spTree>
    <p:extLst>
      <p:ext uri="{BB962C8B-B14F-4D97-AF65-F5344CB8AC3E}">
        <p14:creationId xmlns:p14="http://schemas.microsoft.com/office/powerpoint/2010/main" val="326819692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5821903" y="6486956"/>
            <a:ext cx="539375" cy="130607"/>
          </a:xfrm>
          <a:prstGeom prst="rect">
            <a:avLst/>
          </a:prstGeom>
        </p:spPr>
        <p:txBody>
          <a:bodyPr lIns="80133" tIns="40067" rIns="80133" bIns="40067"/>
          <a:lstStyle>
            <a:lvl1pPr>
              <a:defRPr sz="600">
                <a:latin typeface="EYInterstate Light" panose="02000506000000020004" pitchFamily="2" charset="0"/>
              </a:defRPr>
            </a:lvl1pPr>
          </a:lstStyle>
          <a:p>
            <a:fld id="{F9A56513-F998-4254-9CEB-F507EE6F3742}" type="slidenum">
              <a:rPr lang="en-GB" smtClean="0">
                <a:solidFill>
                  <a:prstClr val="black"/>
                </a:solidFill>
              </a:rPr>
              <a:pPr/>
              <a:t>‹#›</a:t>
            </a:fld>
            <a:endParaRPr lang="en-GB">
              <a:solidFill>
                <a:prstClr val="black"/>
              </a:solidFill>
            </a:endParaRPr>
          </a:p>
        </p:txBody>
      </p:sp>
      <p:sp>
        <p:nvSpPr>
          <p:cNvPr id="4" name="Title Placeholder 2"/>
          <p:cNvSpPr>
            <a:spLocks noGrp="1"/>
          </p:cNvSpPr>
          <p:nvPr>
            <p:ph type="title"/>
          </p:nvPr>
        </p:nvSpPr>
        <p:spPr>
          <a:xfrm>
            <a:off x="0" y="-5020"/>
            <a:ext cx="12192000" cy="1017479"/>
          </a:xfrm>
          <a:prstGeom prst="rect">
            <a:avLst/>
          </a:prstGeom>
        </p:spPr>
        <p:txBody>
          <a:bodyPr vert="horz" lIns="80133" tIns="40067" rIns="80133" bIns="40067" rtlCol="0" anchor="ctr">
            <a:normAutofit/>
          </a:bodyPr>
          <a:lstStyle>
            <a:lvl1pPr>
              <a:defRPr sz="2500"/>
            </a:lvl1pPr>
          </a:lstStyle>
          <a:p>
            <a:r>
              <a:rPr lang="en-US"/>
              <a:t> Click to edit Master title style</a:t>
            </a:r>
            <a:endParaRPr lang="en-GB"/>
          </a:p>
        </p:txBody>
      </p:sp>
    </p:spTree>
    <p:extLst>
      <p:ext uri="{BB962C8B-B14F-4D97-AF65-F5344CB8AC3E}">
        <p14:creationId xmlns:p14="http://schemas.microsoft.com/office/powerpoint/2010/main" val="111720554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85" b="1" i="0">
                <a:solidFill>
                  <a:srgbClr val="808080"/>
                </a:solidFill>
                <a:latin typeface="Arial"/>
                <a:cs typeface="Arial"/>
              </a:defRPr>
            </a:lvl1pPr>
          </a:lstStyle>
          <a:p>
            <a:endParaRPr/>
          </a:p>
        </p:txBody>
      </p:sp>
      <p:sp>
        <p:nvSpPr>
          <p:cNvPr id="3" name="Holder 3"/>
          <p:cNvSpPr>
            <a:spLocks noGrp="1"/>
          </p:cNvSpPr>
          <p:nvPr>
            <p:ph type="body" idx="1"/>
          </p:nvPr>
        </p:nvSpPr>
        <p:spPr>
          <a:xfrm>
            <a:off x="2844803" y="1828800"/>
            <a:ext cx="6502400" cy="3352800"/>
          </a:xfrm>
          <a:prstGeom prst="rect">
            <a:avLst/>
          </a:prstGeom>
        </p:spPr>
        <p:txBody>
          <a:bodyPr lIns="0" tIns="0" rIns="0" bIns="0"/>
          <a:lstStyle>
            <a:lvl1pPr>
              <a:defRPr sz="943" b="1" i="0">
                <a:solidFill>
                  <a:schemeClr val="bg1"/>
                </a:solidFill>
                <a:latin typeface="Arial"/>
                <a:cs typeface="Arial"/>
              </a:defRPr>
            </a:lvl1pPr>
          </a:lstStyle>
          <a:p>
            <a:endParaRPr/>
          </a:p>
        </p:txBody>
      </p:sp>
      <p:sp>
        <p:nvSpPr>
          <p:cNvPr id="4" name="Holder 4"/>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861896"/>
            <a:endParaRPr lang="en-GB" sz="1796">
              <a:solidFill>
                <a:srgbClr val="7F7E82">
                  <a:tint val="75000"/>
                </a:srgbClr>
              </a:solidFill>
            </a:endParaRPr>
          </a:p>
        </p:txBody>
      </p:sp>
      <p:sp>
        <p:nvSpPr>
          <p:cNvPr id="5" name="Holder 5"/>
          <p:cNvSpPr>
            <a:spLocks noGrp="1"/>
          </p:cNvSpPr>
          <p:nvPr>
            <p:ph type="dt" sz="half" idx="6"/>
          </p:nvPr>
        </p:nvSpPr>
        <p:spPr>
          <a:xfrm>
            <a:off x="609600" y="6377942"/>
            <a:ext cx="2804160" cy="342900"/>
          </a:xfrm>
          <a:prstGeom prst="rect">
            <a:avLst/>
          </a:prstGeom>
        </p:spPr>
        <p:txBody>
          <a:bodyPr lIns="0" tIns="0" rIns="0" bIns="0"/>
          <a:lstStyle>
            <a:lvl1pPr algn="l">
              <a:defRPr>
                <a:solidFill>
                  <a:schemeClr val="tx1">
                    <a:tint val="75000"/>
                  </a:schemeClr>
                </a:solidFill>
              </a:defRPr>
            </a:lvl1pPr>
          </a:lstStyle>
          <a:p>
            <a:pPr defTabSz="861896"/>
            <a:fld id="{1D8BD707-D9CF-40AE-B4C6-C98DA3205C09}" type="datetimeFigureOut">
              <a:rPr lang="en-US" sz="1796" smtClean="0">
                <a:solidFill>
                  <a:srgbClr val="7F7E82">
                    <a:tint val="75000"/>
                  </a:srgbClr>
                </a:solidFill>
              </a:rPr>
              <a:pPr defTabSz="861896"/>
              <a:t>9/5/2022</a:t>
            </a:fld>
            <a:endParaRPr lang="en-US" sz="1796">
              <a:solidFill>
                <a:srgbClr val="7F7E82">
                  <a:tint val="75000"/>
                </a:srgbClr>
              </a:solidFill>
            </a:endParaRPr>
          </a:p>
        </p:txBody>
      </p:sp>
      <p:sp>
        <p:nvSpPr>
          <p:cNvPr id="6" name="Holder 6"/>
          <p:cNvSpPr>
            <a:spLocks noGrp="1"/>
          </p:cNvSpPr>
          <p:nvPr>
            <p:ph type="sldNum" sz="quarter" idx="7"/>
          </p:nvPr>
        </p:nvSpPr>
        <p:spPr>
          <a:xfrm>
            <a:off x="592667" y="6432210"/>
            <a:ext cx="746759" cy="171450"/>
          </a:xfrm>
          <a:prstGeom prst="rect">
            <a:avLst/>
          </a:prstGeom>
        </p:spPr>
        <p:txBody>
          <a:bodyPr lIns="0" tIns="0" rIns="0" bIns="0"/>
          <a:lstStyle>
            <a:lvl1pPr>
              <a:defRPr sz="943" b="0" i="0">
                <a:solidFill>
                  <a:srgbClr val="808080"/>
                </a:solidFill>
                <a:latin typeface="Arial"/>
                <a:cs typeface="Arial"/>
              </a:defRPr>
            </a:lvl1pPr>
          </a:lstStyle>
          <a:p>
            <a:pPr marL="11570" defTabSz="861896">
              <a:lnSpc>
                <a:spcPts val="1006"/>
              </a:lnSpc>
            </a:pPr>
            <a:r>
              <a:rPr lang="tr-TR" spc="-5"/>
              <a:t>Page</a:t>
            </a:r>
            <a:r>
              <a:rPr lang="tr-TR" spc="-96"/>
              <a:t> </a:t>
            </a:r>
            <a:fld id="{81D60167-4931-47E6-BA6A-407CBD079E47}" type="slidenum">
              <a:rPr lang="tr-TR" spc="-5" smtClean="0"/>
              <a:pPr marL="11570" defTabSz="861896">
                <a:lnSpc>
                  <a:spcPts val="1006"/>
                </a:lnSpc>
              </a:pPr>
              <a:t>‹#›</a:t>
            </a:fld>
            <a:endParaRPr lang="tr-TR" spc="-5"/>
          </a:p>
        </p:txBody>
      </p:sp>
    </p:spTree>
    <p:extLst>
      <p:ext uri="{BB962C8B-B14F-4D97-AF65-F5344CB8AC3E}">
        <p14:creationId xmlns:p14="http://schemas.microsoft.com/office/powerpoint/2010/main" val="339001384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5821903" y="6486956"/>
            <a:ext cx="539375" cy="130607"/>
          </a:xfrm>
          <a:prstGeom prst="rect">
            <a:avLst/>
          </a:prstGeom>
        </p:spPr>
        <p:txBody>
          <a:bodyPr lIns="80133" tIns="40067" rIns="80133" bIns="40067"/>
          <a:lstStyle>
            <a:lvl1pPr>
              <a:defRPr sz="600">
                <a:latin typeface="EYInterstate Light" panose="02000506000000020004" pitchFamily="2" charset="0"/>
              </a:defRPr>
            </a:lvl1pPr>
          </a:lstStyle>
          <a:p>
            <a:fld id="{F9A56513-F998-4254-9CEB-F507EE6F3742}" type="slidenum">
              <a:rPr lang="en-GB" smtClean="0">
                <a:solidFill>
                  <a:prstClr val="black"/>
                </a:solidFill>
              </a:rPr>
              <a:pPr/>
              <a:t>‹#›</a:t>
            </a:fld>
            <a:endParaRPr lang="en-GB">
              <a:solidFill>
                <a:prstClr val="black"/>
              </a:solidFill>
            </a:endParaRPr>
          </a:p>
        </p:txBody>
      </p:sp>
      <p:sp>
        <p:nvSpPr>
          <p:cNvPr id="4" name="Title Placeholder 2"/>
          <p:cNvSpPr>
            <a:spLocks noGrp="1"/>
          </p:cNvSpPr>
          <p:nvPr>
            <p:ph type="title"/>
          </p:nvPr>
        </p:nvSpPr>
        <p:spPr>
          <a:xfrm>
            <a:off x="0" y="-5020"/>
            <a:ext cx="12192000" cy="1017479"/>
          </a:xfrm>
          <a:prstGeom prst="rect">
            <a:avLst/>
          </a:prstGeom>
        </p:spPr>
        <p:txBody>
          <a:bodyPr vert="horz" lIns="80133" tIns="40067" rIns="80133" bIns="40067" rtlCol="0" anchor="ctr">
            <a:normAutofit/>
          </a:bodyPr>
          <a:lstStyle>
            <a:lvl1pPr>
              <a:defRPr sz="2500"/>
            </a:lvl1pPr>
          </a:lstStyle>
          <a:p>
            <a:r>
              <a:rPr lang="en-US"/>
              <a:t> Click to edit Master title style</a:t>
            </a:r>
            <a:endParaRPr lang="en-GB"/>
          </a:p>
        </p:txBody>
      </p:sp>
    </p:spTree>
    <p:extLst>
      <p:ext uri="{BB962C8B-B14F-4D97-AF65-F5344CB8AC3E}">
        <p14:creationId xmlns:p14="http://schemas.microsoft.com/office/powerpoint/2010/main" val="353264690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157751780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3" name="Title 1"/>
          <p:cNvSpPr>
            <a:spLocks noGrp="1"/>
          </p:cNvSpPr>
          <p:nvPr>
            <p:ph type="ctrTitle" hasCustomPrompt="1"/>
          </p:nvPr>
        </p:nvSpPr>
        <p:spPr>
          <a:xfrm>
            <a:off x="89986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3411579351"/>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5 September 2022</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839447358"/>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14108954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a:t>Chapter Title</a:t>
            </a:r>
          </a:p>
          <a:p>
            <a:pPr lvl="0"/>
            <a:r>
              <a:rPr lang="en-US" noProof="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11028681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540533"/>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5 September 2022</a:t>
            </a:fld>
            <a:endParaRPr lang="en-US"/>
          </a:p>
        </p:txBody>
      </p:sp>
      <p:sp>
        <p:nvSpPr>
          <p:cNvPr id="4" name="Fußzeilenplatzhalter 3"/>
          <p:cNvSpPr>
            <a:spLocks noGrp="1"/>
          </p:cNvSpPr>
          <p:nvPr>
            <p:ph type="ftr" sz="quarter" idx="11"/>
          </p:nvPr>
        </p:nvSpPr>
        <p:spPr/>
        <p:txBody>
          <a:bodyPr/>
          <a:lstStyle/>
          <a:p>
            <a:r>
              <a:rPr lang="en-US"/>
              <a:t>EY DE PPT Gallery</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a:t>Click icon to add picture</a:t>
            </a:r>
          </a:p>
        </p:txBody>
      </p:sp>
    </p:spTree>
    <p:extLst>
      <p:ext uri="{BB962C8B-B14F-4D97-AF65-F5344CB8AC3E}">
        <p14:creationId xmlns:p14="http://schemas.microsoft.com/office/powerpoint/2010/main" val="411178753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630CFFD-C074-452D-9993-6A513744EC12}" type="datetime3">
              <a:rPr lang="en-US" smtClean="0"/>
              <a:t>5 September 2022</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3071785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60762309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7866365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200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184539036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200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a:ln>
                <a:noFill/>
              </a:ln>
              <a:solidFill>
                <a:srgbClr val="2E2E38"/>
              </a:solidFill>
              <a:effectLst/>
              <a:uLnTx/>
              <a:uFillTx/>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831339489"/>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0B0FC22C-51B8-4BBE-A811-8709A4736A15}" type="datetime3">
              <a:rPr lang="en-US" noProof="0" smtClean="0"/>
              <a:t>5 September 2022</a:t>
            </a:fld>
            <a:endParaRPr lang="en-US" noProof="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14015262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829168266"/>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640463632"/>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18555116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303356734"/>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1DEBBD0-ED69-42F7-AE02-53D61B52F7DB}" type="datetime3">
              <a:rPr lang="en-US" noProof="0" smtClean="0"/>
              <a:t>5 September 2022</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416929287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164775631"/>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06075663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2313429"/>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52615211"/>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32303601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260661771"/>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81290317"/>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3100296208"/>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27496566"/>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9636350"/>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246474"/>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5012811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06785421"/>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1853582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527359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21410645"/>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88717581"/>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9238633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14744807"/>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62433233"/>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381571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962479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60533287"/>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00323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345396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69658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44882845"/>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08485451"/>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34048580"/>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62683828"/>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68985523"/>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5990786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13737381"/>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80915479"/>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64198754"/>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384276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27565474"/>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48694924"/>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230771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1133498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93174705"/>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23180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53349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421932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122684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12539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1839852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58920451"/>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53002328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1523616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195446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335167497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52424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169672745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308454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17208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2"/>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29589635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22146847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7852559"/>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2_Text or content">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spTree>
    <p:extLst>
      <p:ext uri="{BB962C8B-B14F-4D97-AF65-F5344CB8AC3E}">
        <p14:creationId xmlns:p14="http://schemas.microsoft.com/office/powerpoint/2010/main" val="192844808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236676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99833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96724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49256657"/>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288406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463301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2144724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0539336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80948350"/>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8989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0706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085060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41893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7331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639487815"/>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07877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381998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64635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41456426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1181134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40414603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48893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327708304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4485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590511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62415710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297719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335640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2"/>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5174625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38566641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27347644"/>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623446009"/>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51148506"/>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085984083"/>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11043687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4535128"/>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72988407"/>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585140787"/>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12219012"/>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6598723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6834122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216798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438484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6733134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32170913"/>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7943030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092578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819947588"/>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1859830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29510999"/>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910914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779133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8587624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11617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14336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71564873"/>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7663442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60749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77722221"/>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25861204"/>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982582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35092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5440357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1141251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56876926"/>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1667380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6526315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954040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72918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8323800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6077815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65427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14933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05688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117599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02716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8516742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9/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6655195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22669500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97484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slideLayout" Target="../slideLayouts/slideLayout100.xml"/><Relationship Id="rId50" Type="http://schemas.openxmlformats.org/officeDocument/2006/relationships/slideLayout" Target="../slideLayouts/slideLayout103.xml"/><Relationship Id="rId55" Type="http://schemas.openxmlformats.org/officeDocument/2006/relationships/tags" Target="../tags/tag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slideLayout" Target="../slideLayouts/slideLayout99.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41" Type="http://schemas.openxmlformats.org/officeDocument/2006/relationships/slideLayout" Target="../slideLayouts/slideLayout94.xml"/><Relationship Id="rId54" Type="http://schemas.openxmlformats.org/officeDocument/2006/relationships/theme" Target="../theme/theme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3" Type="http://schemas.openxmlformats.org/officeDocument/2006/relationships/slideLayout" Target="../slideLayouts/slideLayout106.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slideLayout" Target="../slideLayouts/slideLayout102.xml"/><Relationship Id="rId57" Type="http://schemas.openxmlformats.org/officeDocument/2006/relationships/image" Target="../media/image1.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52" Type="http://schemas.openxmlformats.org/officeDocument/2006/relationships/slideLayout" Target="../slideLayouts/slideLayout105.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slideLayout" Target="../slideLayouts/slideLayout101.xml"/><Relationship Id="rId56" Type="http://schemas.openxmlformats.org/officeDocument/2006/relationships/oleObject" Target="../embeddings/oleObject4.bin"/><Relationship Id="rId8" Type="http://schemas.openxmlformats.org/officeDocument/2006/relationships/slideLayout" Target="../slideLayouts/slideLayout61.xml"/><Relationship Id="rId51" Type="http://schemas.openxmlformats.org/officeDocument/2006/relationships/slideLayout" Target="../slideLayouts/slideLayout104.xml"/><Relationship Id="rId3"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oleObject" Target="../embeddings/oleObject7.bin"/><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ags" Target="../tags/tag10.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slideLayout" Target="../slideLayouts/slideLayout166.xml"/><Relationship Id="rId47" Type="http://schemas.openxmlformats.org/officeDocument/2006/relationships/slideLayout" Target="../slideLayouts/slideLayout171.xml"/><Relationship Id="rId50" Type="http://schemas.openxmlformats.org/officeDocument/2006/relationships/slideLayout" Target="../slideLayouts/slideLayout174.xml"/><Relationship Id="rId55" Type="http://schemas.openxmlformats.org/officeDocument/2006/relationships/tags" Target="../tags/tag11.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 Id="rId46" Type="http://schemas.openxmlformats.org/officeDocument/2006/relationships/slideLayout" Target="../slideLayouts/slideLayout170.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slideLayout" Target="../slideLayouts/slideLayout165.xml"/><Relationship Id="rId54" Type="http://schemas.openxmlformats.org/officeDocument/2006/relationships/theme" Target="../theme/theme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45" Type="http://schemas.openxmlformats.org/officeDocument/2006/relationships/slideLayout" Target="../slideLayouts/slideLayout169.xml"/><Relationship Id="rId53" Type="http://schemas.openxmlformats.org/officeDocument/2006/relationships/slideLayout" Target="../slideLayouts/slideLayout177.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49" Type="http://schemas.openxmlformats.org/officeDocument/2006/relationships/slideLayout" Target="../slideLayouts/slideLayout173.xml"/><Relationship Id="rId57" Type="http://schemas.openxmlformats.org/officeDocument/2006/relationships/image" Target="../media/image1.emf"/><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4" Type="http://schemas.openxmlformats.org/officeDocument/2006/relationships/slideLayout" Target="../slideLayouts/slideLayout168.xml"/><Relationship Id="rId52" Type="http://schemas.openxmlformats.org/officeDocument/2006/relationships/slideLayout" Target="../slideLayouts/slideLayout176.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slideLayout" Target="../slideLayouts/slideLayout167.xml"/><Relationship Id="rId48" Type="http://schemas.openxmlformats.org/officeDocument/2006/relationships/slideLayout" Target="../slideLayouts/slideLayout172.xml"/><Relationship Id="rId56" Type="http://schemas.openxmlformats.org/officeDocument/2006/relationships/oleObject" Target="../embeddings/oleObject8.bin"/><Relationship Id="rId8" Type="http://schemas.openxmlformats.org/officeDocument/2006/relationships/slideLayout" Target="../slideLayouts/slideLayout132.xml"/><Relationship Id="rId51" Type="http://schemas.openxmlformats.org/officeDocument/2006/relationships/slideLayout" Target="../slideLayouts/slideLayout175.xml"/><Relationship Id="rId3" Type="http://schemas.openxmlformats.org/officeDocument/2006/relationships/slideLayout" Target="../slideLayouts/slideLayout1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heme" Target="../theme/theme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6" Type="http://schemas.openxmlformats.org/officeDocument/2006/relationships/image" Target="../media/image19.emf"/><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oleObject" Target="../embeddings/oleObject11.bin"/><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1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tags" Target="../tags/tag1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tags" Target="../tags/tag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slideLayout" Target="../slideLayouts/slideLayout196.xml"/><Relationship Id="rId21" Type="http://schemas.openxmlformats.org/officeDocument/2006/relationships/tags" Target="../tags/tag2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slideLayout" Target="../slideLayouts/slideLayout19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tags" Target="../tags/tag27.xml"/><Relationship Id="rId5" Type="http://schemas.openxmlformats.org/officeDocument/2006/relationships/slideLayout" Target="../slideLayouts/slideLayout19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image" Target="../media/image25.emf"/><Relationship Id="rId10" Type="http://schemas.openxmlformats.org/officeDocument/2006/relationships/slideLayout" Target="../slideLayouts/slideLayout203.xml"/><Relationship Id="rId19" Type="http://schemas.openxmlformats.org/officeDocument/2006/relationships/tags" Target="../tags/tag2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heme" Target="../theme/theme8.xml"/><Relationship Id="rId22" Type="http://schemas.openxmlformats.org/officeDocument/2006/relationships/tags" Target="../tags/tag25.xml"/><Relationship Id="rId27" Type="http://schemas.openxmlformats.org/officeDocument/2006/relationships/oleObject" Target="../embeddings/oleObject14.bin"/></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9" Type="http://schemas.openxmlformats.org/officeDocument/2006/relationships/slideLayout" Target="../slideLayouts/slideLayout245.xml"/><Relationship Id="rId21" Type="http://schemas.openxmlformats.org/officeDocument/2006/relationships/slideLayout" Target="../slideLayouts/slideLayout227.xml"/><Relationship Id="rId34" Type="http://schemas.openxmlformats.org/officeDocument/2006/relationships/slideLayout" Target="../slideLayouts/slideLayout240.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50" Type="http://schemas.openxmlformats.org/officeDocument/2006/relationships/slideLayout" Target="../slideLayouts/slideLayout256.xml"/><Relationship Id="rId55" Type="http://schemas.openxmlformats.org/officeDocument/2006/relationships/theme" Target="../theme/theme9.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slideLayout" Target="../slideLayouts/slideLayout235.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image" Target="../media/image1.emf"/><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oleObject" Target="../embeddings/oleObject22.bin"/><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tags" Target="../tags/tag43.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3" Type="http://schemas.openxmlformats.org/officeDocument/2006/relationships/slideLayout" Target="../slideLayouts/slideLayout2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5"/>
            </p:custDataLst>
            <p:extLst>
              <p:ext uri="{D42A27DB-BD31-4B8C-83A1-F6EECF244321}">
                <p14:modId xmlns:p14="http://schemas.microsoft.com/office/powerpoint/2010/main" val="210744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5" progId="TCLayout.ActiveDocument.1">
                  <p:embed/>
                </p:oleObj>
              </mc:Choice>
              <mc:Fallback>
                <p:oleObj name="think-cell Slide" r:id="rId56"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21233951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5"/>
            </p:custDataLst>
            <p:extLst>
              <p:ext uri="{D42A27DB-BD31-4B8C-83A1-F6EECF244321}">
                <p14:modId xmlns:p14="http://schemas.microsoft.com/office/powerpoint/2010/main" val="393594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5" progId="TCLayout.ActiveDocument.1">
                  <p:embed/>
                </p:oleObj>
              </mc:Choice>
              <mc:Fallback>
                <p:oleObj name="think-cell Slide" r:id="rId56"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13233269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CA92D5-BE70-4920-A9B7-1974B6807F39}"/>
              </a:ext>
            </a:extLst>
          </p:cNvPr>
          <p:cNvGraphicFramePr>
            <a:graphicFrameLocks noChangeAspect="1"/>
          </p:cNvGraphicFramePr>
          <p:nvPr userDrawn="1">
            <p:custDataLst>
              <p:tags r:id="rId20"/>
            </p:custDataLst>
            <p:extLst>
              <p:ext uri="{D42A27DB-BD31-4B8C-83A1-F6EECF244321}">
                <p14:modId xmlns:p14="http://schemas.microsoft.com/office/powerpoint/2010/main" val="3627996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2" name="Object 1" hidden="1">
                        <a:extLst>
                          <a:ext uri="{FF2B5EF4-FFF2-40B4-BE49-F238E27FC236}">
                            <a16:creationId xmlns:a16="http://schemas.microsoft.com/office/drawing/2014/main" id="{C1CA92D5-BE70-4920-A9B7-1974B6807F3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5774098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5"/>
            </p:custDataLst>
            <p:extLst>
              <p:ext uri="{D42A27DB-BD31-4B8C-83A1-F6EECF244321}">
                <p14:modId xmlns:p14="http://schemas.microsoft.com/office/powerpoint/2010/main" val="59635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5" progId="TCLayout.ActiveDocument.1">
                  <p:embed/>
                </p:oleObj>
              </mc:Choice>
              <mc:Fallback>
                <p:oleObj name="think-cell Slide" r:id="rId56"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168506792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 id="2147483830" r:id="rId35"/>
    <p:sldLayoutId id="2147483831" r:id="rId36"/>
    <p:sldLayoutId id="2147483832" r:id="rId37"/>
    <p:sldLayoutId id="2147483833" r:id="rId38"/>
    <p:sldLayoutId id="2147483834" r:id="rId39"/>
    <p:sldLayoutId id="2147483835" r:id="rId40"/>
    <p:sldLayoutId id="2147483836" r:id="rId41"/>
    <p:sldLayoutId id="2147483837" r:id="rId42"/>
    <p:sldLayoutId id="2147483838" r:id="rId43"/>
    <p:sldLayoutId id="2147483839" r:id="rId44"/>
    <p:sldLayoutId id="2147483840" r:id="rId45"/>
    <p:sldLayoutId id="2147483841" r:id="rId46"/>
    <p:sldLayoutId id="2147483842" r:id="rId47"/>
    <p:sldLayoutId id="2147483843" r:id="rId48"/>
    <p:sldLayoutId id="2147483844" r:id="rId49"/>
    <p:sldLayoutId id="2147483845" r:id="rId50"/>
    <p:sldLayoutId id="2147483846" r:id="rId51"/>
    <p:sldLayoutId id="2147483847" r:id="rId52"/>
    <p:sldLayoutId id="2147483848"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F808A5-468D-46A4-94DF-58F8ACE70DF4}"/>
              </a:ext>
            </a:extLst>
          </p:cNvPr>
          <p:cNvGraphicFramePr>
            <a:graphicFrameLocks noChangeAspect="1"/>
          </p:cNvGraphicFramePr>
          <p:nvPr userDrawn="1">
            <p:custDataLst>
              <p:tags r:id="rId14"/>
            </p:custDataLst>
            <p:extLst>
              <p:ext uri="{D42A27DB-BD31-4B8C-83A1-F6EECF244321}">
                <p14:modId xmlns:p14="http://schemas.microsoft.com/office/powerpoint/2010/main" val="53174363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622" imgH="623" progId="TCLayout.ActiveDocument.1">
                  <p:embed/>
                </p:oleObj>
              </mc:Choice>
              <mc:Fallback>
                <p:oleObj name="think-cell Slide" r:id="rId15" imgW="622" imgH="623" progId="TCLayout.ActiveDocument.1">
                  <p:embed/>
                  <p:pic>
                    <p:nvPicPr>
                      <p:cNvPr id="6" name="Object 5" hidden="1">
                        <a:extLst>
                          <a:ext uri="{FF2B5EF4-FFF2-40B4-BE49-F238E27FC236}">
                            <a16:creationId xmlns:a16="http://schemas.microsoft.com/office/drawing/2014/main" id="{D5F808A5-468D-46A4-94DF-58F8ACE70DF4}"/>
                          </a:ext>
                        </a:extLst>
                      </p:cNvPr>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605373" y="201600"/>
            <a:ext cx="10977033"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a:xfrm>
            <a:off x="609600" y="6409944"/>
            <a:ext cx="963168" cy="201168"/>
          </a:xfrm>
          <a:prstGeom prst="rect">
            <a:avLst/>
          </a:prstGeom>
          <a:noFill/>
        </p:spPr>
        <p:txBody>
          <a:bodyPr wrap="square" lIns="0" tIns="0" rIns="0" bIns="0" rtlCol="0" anchor="ctr" anchorCtr="0">
            <a:noAutofit/>
          </a:bodyPr>
          <a:lstStyle/>
          <a:p>
            <a:r>
              <a:rPr lang="en-GB" sz="1100">
                <a:solidFill>
                  <a:srgbClr val="646464"/>
                </a:solidFill>
                <a:cs typeface="Arial" pitchFamily="34" charset="0"/>
              </a:rPr>
              <a:t>Page </a:t>
            </a:r>
            <a:fld id="{9AE4D82F-B047-469B-AC52-A46321747EAF}" type="slidenum">
              <a:rPr lang="en-GB" sz="1100">
                <a:solidFill>
                  <a:srgbClr val="646464"/>
                </a:solidFill>
                <a:cs typeface="Arial" pitchFamily="34" charset="0"/>
              </a:rPr>
              <a:pPr/>
              <a:t>‹#›</a:t>
            </a:fld>
            <a:endParaRPr lang="en-GB" sz="1100">
              <a:solidFill>
                <a:srgbClr val="646464"/>
              </a:solidFill>
              <a:cs typeface="Arial" pitchFamily="34" charset="0"/>
            </a:endParaRPr>
          </a:p>
        </p:txBody>
      </p:sp>
      <p:grpSp>
        <p:nvGrpSpPr>
          <p:cNvPr id="8" name="Group 7"/>
          <p:cNvGrpSpPr/>
          <p:nvPr/>
        </p:nvGrpSpPr>
        <p:grpSpPr bwMode="gray">
          <a:xfrm>
            <a:off x="11131564" y="6450029"/>
            <a:ext cx="45084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grpSp>
      <p:sp>
        <p:nvSpPr>
          <p:cNvPr id="4" name="Date Placeholder 3"/>
          <p:cNvSpPr>
            <a:spLocks noGrp="1"/>
          </p:cNvSpPr>
          <p:nvPr>
            <p:ph type="dt" sz="half" idx="2"/>
          </p:nvPr>
        </p:nvSpPr>
        <p:spPr>
          <a:xfrm>
            <a:off x="1623723" y="6409944"/>
            <a:ext cx="1584960" cy="201168"/>
          </a:xfrm>
          <a:prstGeom prst="rect">
            <a:avLst/>
          </a:prstGeom>
        </p:spPr>
        <p:txBody>
          <a:bodyPr vert="horz" wrap="none" lIns="0" tIns="45720" rIns="91440" bIns="45720" rtlCol="0" anchor="ctr" anchorCtr="0">
            <a:noAutofit/>
          </a:bodyPr>
          <a:lstStyle>
            <a:lvl1pPr algn="l">
              <a:defRPr sz="1100">
                <a:solidFill>
                  <a:schemeClr val="bg1"/>
                </a:solidFill>
                <a:latin typeface="+mn-lt"/>
                <a:cs typeface="Arial" pitchFamily="34" charset="0"/>
              </a:defRPr>
            </a:lvl1pPr>
          </a:lstStyle>
          <a:p>
            <a:fld id="{E674DEF3-C5E8-49DA-81A9-3140A0D6C9BA}" type="datetimeFigureOut">
              <a:rPr lang="en-US" smtClean="0">
                <a:solidFill>
                  <a:srgbClr val="646464"/>
                </a:solidFill>
              </a:rPr>
              <a:pPr/>
              <a:t>9/5/2022</a:t>
            </a:fld>
            <a:endParaRPr lang="en-US">
              <a:solidFill>
                <a:srgbClr val="646464"/>
              </a:solidFill>
            </a:endParaRPr>
          </a:p>
        </p:txBody>
      </p:sp>
    </p:spTree>
    <p:extLst>
      <p:ext uri="{BB962C8B-B14F-4D97-AF65-F5344CB8AC3E}">
        <p14:creationId xmlns:p14="http://schemas.microsoft.com/office/powerpoint/2010/main" val="242677310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1" r:id="rId12"/>
  </p:sldLayoutIdLst>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78136647"/>
              </p:ext>
            </p:extLst>
          </p:nvPr>
        </p:nvGraphicFramePr>
        <p:xfrm>
          <a:off x="1822" y="1450"/>
          <a:ext cx="1809" cy="143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822" y="1450"/>
                        <a:ext cx="1809" cy="1439"/>
                      </a:xfrm>
                      <a:prstGeom prst="rect">
                        <a:avLst/>
                      </a:prstGeom>
                    </p:spPr>
                  </p:pic>
                </p:oleObj>
              </mc:Fallback>
            </mc:AlternateContent>
          </a:graphicData>
        </a:graphic>
      </p:graphicFrame>
      <p:sp>
        <p:nvSpPr>
          <p:cNvPr id="102412" name="Rectangle 12"/>
          <p:cNvSpPr>
            <a:spLocks noGrp="1" noChangeArrowheads="1"/>
          </p:cNvSpPr>
          <p:nvPr>
            <p:ph type="title"/>
          </p:nvPr>
        </p:nvSpPr>
        <p:spPr bwMode="auto">
          <a:xfrm>
            <a:off x="4312531" y="554390"/>
            <a:ext cx="7133117" cy="303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a:t>Headline 1</a:t>
            </a:r>
          </a:p>
        </p:txBody>
      </p:sp>
      <p:sp>
        <p:nvSpPr>
          <p:cNvPr id="6" name="TextBox 5"/>
          <p:cNvSpPr txBox="1"/>
          <p:nvPr userDrawn="1"/>
        </p:nvSpPr>
        <p:spPr>
          <a:xfrm>
            <a:off x="609600" y="6409944"/>
            <a:ext cx="963168" cy="201168"/>
          </a:xfrm>
          <a:prstGeom prst="rect">
            <a:avLst/>
          </a:prstGeom>
          <a:noFill/>
        </p:spPr>
        <p:txBody>
          <a:bodyPr wrap="square" lIns="0" tIns="0" rIns="0" bIns="0" rtlCol="0" anchor="ctr" anchorCtr="0">
            <a:noAutofit/>
          </a:bodyPr>
          <a:lstStyle/>
          <a:p>
            <a:r>
              <a:rPr lang="en-GB" sz="1100">
                <a:solidFill>
                  <a:srgbClr val="646464"/>
                </a:solidFill>
                <a:cs typeface="Arial" pitchFamily="34" charset="0"/>
              </a:rPr>
              <a:t>Page </a:t>
            </a:r>
            <a:fld id="{9AE4D82F-B047-469B-AC52-A46321747EAF}" type="slidenum">
              <a:rPr lang="en-GB" sz="1100" smtClean="0">
                <a:solidFill>
                  <a:srgbClr val="646464"/>
                </a:solidFill>
                <a:cs typeface="Arial" pitchFamily="34" charset="0"/>
              </a:rPr>
              <a:pPr/>
              <a:t>‹#›</a:t>
            </a:fld>
            <a:endParaRPr lang="en-GB" sz="1100">
              <a:solidFill>
                <a:srgbClr val="646464"/>
              </a:solidFill>
              <a:cs typeface="Arial" pitchFamily="34" charset="0"/>
            </a:endParaRPr>
          </a:p>
        </p:txBody>
      </p:sp>
      <p:grpSp>
        <p:nvGrpSpPr>
          <p:cNvPr id="8" name="Group 7"/>
          <p:cNvGrpSpPr/>
          <p:nvPr userDrawn="1"/>
        </p:nvGrpSpPr>
        <p:grpSpPr bwMode="gray">
          <a:xfrm>
            <a:off x="11131552" y="6450014"/>
            <a:ext cx="450849" cy="204787"/>
            <a:chOff x="8348663" y="6450013"/>
            <a:chExt cx="338137" cy="204787"/>
          </a:xfrm>
          <a:solidFill>
            <a:srgbClr val="808080"/>
          </a:solidFill>
        </p:grpSpPr>
        <p:sp>
          <p:nvSpPr>
            <p:cNvPr id="9"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10"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grpSp>
      <p:sp>
        <p:nvSpPr>
          <p:cNvPr id="11" name="TextBox 10"/>
          <p:cNvSpPr txBox="1"/>
          <p:nvPr userDrawn="1"/>
        </p:nvSpPr>
        <p:spPr>
          <a:xfrm>
            <a:off x="3556000" y="6405276"/>
            <a:ext cx="655442" cy="217503"/>
          </a:xfrm>
          <a:prstGeom prst="rect">
            <a:avLst/>
          </a:prstGeom>
          <a:noFill/>
        </p:spPr>
        <p:txBody>
          <a:bodyPr wrap="none" lIns="0" tIns="38802" rIns="77603" bIns="38802" rtlCol="0">
            <a:spAutoFit/>
          </a:bodyPr>
          <a:lstStyle/>
          <a:p>
            <a:pPr fontAlgn="base">
              <a:lnSpc>
                <a:spcPts val="1197"/>
              </a:lnSpc>
              <a:spcBef>
                <a:spcPct val="0"/>
              </a:spcBef>
              <a:spcAft>
                <a:spcPct val="0"/>
              </a:spcAft>
            </a:pPr>
            <a:r>
              <a:rPr lang="en-US" sz="770">
                <a:solidFill>
                  <a:srgbClr val="7F7E82"/>
                </a:solidFill>
                <a:latin typeface="EYInterstate Regular" pitchFamily="1" charset="0"/>
              </a:rPr>
              <a:t>Confidential </a:t>
            </a:r>
          </a:p>
        </p:txBody>
      </p:sp>
    </p:spTree>
    <p:extLst>
      <p:ext uri="{BB962C8B-B14F-4D97-AF65-F5344CB8AC3E}">
        <p14:creationId xmlns:p14="http://schemas.microsoft.com/office/powerpoint/2010/main" val="3259547335"/>
      </p:ext>
    </p:extLst>
  </p:cSld>
  <p:clrMap bg1="lt1" tx1="dk1" bg2="lt2" tx2="dk2" accent1="accent1" accent2="accent2" accent3="accent3" accent4="accent4" accent5="accent5" accent6="accent6" hlink="hlink" folHlink="folHlink"/>
  <p:sldLayoutIdLst>
    <p:sldLayoutId id="2147483875" r:id="rId1"/>
    <p:sldLayoutId id="2147483876" r:id="rId2"/>
  </p:sldLayoutIdLst>
  <p:hf hdr="0" ftr="0" dt="0"/>
  <p:txStyles>
    <p:titleStyle>
      <a:lvl1pPr algn="l" defTabSz="843807" rtl="0" eaLnBrk="1" fontAlgn="base" hangingPunct="1">
        <a:lnSpc>
          <a:spcPts val="2510"/>
        </a:lnSpc>
        <a:spcBef>
          <a:spcPct val="0"/>
        </a:spcBef>
        <a:spcAft>
          <a:spcPct val="0"/>
        </a:spcAft>
        <a:defRPr sz="2052">
          <a:solidFill>
            <a:schemeClr val="tx2">
              <a:lumMod val="75000"/>
            </a:schemeClr>
          </a:solidFill>
          <a:latin typeface="EYInterstate Regular" pitchFamily="2" charset="0"/>
          <a:ea typeface="+mj-ea"/>
          <a:cs typeface="+mj-cs"/>
        </a:defRPr>
      </a:lvl1pPr>
      <a:lvl2pPr algn="l" defTabSz="843807" rtl="0" eaLnBrk="1" fontAlgn="base" hangingPunct="1">
        <a:lnSpc>
          <a:spcPts val="2510"/>
        </a:lnSpc>
        <a:spcBef>
          <a:spcPct val="0"/>
        </a:spcBef>
        <a:spcAft>
          <a:spcPct val="0"/>
        </a:spcAft>
        <a:defRPr sz="2052">
          <a:solidFill>
            <a:schemeClr val="tx1"/>
          </a:solidFill>
          <a:latin typeface="EYInterstate" pitchFamily="2" charset="0"/>
        </a:defRPr>
      </a:lvl2pPr>
      <a:lvl3pPr algn="l" defTabSz="843807" rtl="0" eaLnBrk="1" fontAlgn="base" hangingPunct="1">
        <a:lnSpc>
          <a:spcPts val="2510"/>
        </a:lnSpc>
        <a:spcBef>
          <a:spcPct val="0"/>
        </a:spcBef>
        <a:spcAft>
          <a:spcPct val="0"/>
        </a:spcAft>
        <a:defRPr sz="2052">
          <a:solidFill>
            <a:schemeClr val="tx1"/>
          </a:solidFill>
          <a:latin typeface="EYInterstate" pitchFamily="2" charset="0"/>
        </a:defRPr>
      </a:lvl3pPr>
      <a:lvl4pPr algn="l" defTabSz="843807" rtl="0" eaLnBrk="1" fontAlgn="base" hangingPunct="1">
        <a:lnSpc>
          <a:spcPts val="2510"/>
        </a:lnSpc>
        <a:spcBef>
          <a:spcPct val="0"/>
        </a:spcBef>
        <a:spcAft>
          <a:spcPct val="0"/>
        </a:spcAft>
        <a:defRPr sz="2052">
          <a:solidFill>
            <a:schemeClr val="tx1"/>
          </a:solidFill>
          <a:latin typeface="EYInterstate" pitchFamily="2" charset="0"/>
        </a:defRPr>
      </a:lvl4pPr>
      <a:lvl5pPr algn="l" defTabSz="843807" rtl="0" eaLnBrk="1" fontAlgn="base" hangingPunct="1">
        <a:lnSpc>
          <a:spcPts val="2510"/>
        </a:lnSpc>
        <a:spcBef>
          <a:spcPct val="0"/>
        </a:spcBef>
        <a:spcAft>
          <a:spcPct val="0"/>
        </a:spcAft>
        <a:defRPr sz="2052">
          <a:solidFill>
            <a:schemeClr val="tx1"/>
          </a:solidFill>
          <a:latin typeface="EYInterstate" pitchFamily="2" charset="0"/>
        </a:defRPr>
      </a:lvl5pPr>
      <a:lvl6pPr marL="387561" algn="l" defTabSz="843807" rtl="0" eaLnBrk="1" fontAlgn="base" hangingPunct="1">
        <a:lnSpc>
          <a:spcPts val="2510"/>
        </a:lnSpc>
        <a:spcBef>
          <a:spcPct val="0"/>
        </a:spcBef>
        <a:spcAft>
          <a:spcPct val="0"/>
        </a:spcAft>
        <a:defRPr sz="2052">
          <a:solidFill>
            <a:schemeClr val="tx1"/>
          </a:solidFill>
          <a:latin typeface="EYInterstate" pitchFamily="2" charset="0"/>
        </a:defRPr>
      </a:lvl6pPr>
      <a:lvl7pPr marL="775161" algn="l" defTabSz="843807" rtl="0" eaLnBrk="1" fontAlgn="base" hangingPunct="1">
        <a:lnSpc>
          <a:spcPts val="2510"/>
        </a:lnSpc>
        <a:spcBef>
          <a:spcPct val="0"/>
        </a:spcBef>
        <a:spcAft>
          <a:spcPct val="0"/>
        </a:spcAft>
        <a:defRPr sz="2052">
          <a:solidFill>
            <a:schemeClr val="tx1"/>
          </a:solidFill>
          <a:latin typeface="EYInterstate" pitchFamily="2" charset="0"/>
        </a:defRPr>
      </a:lvl7pPr>
      <a:lvl8pPr marL="1162756" algn="l" defTabSz="843807" rtl="0" eaLnBrk="1" fontAlgn="base" hangingPunct="1">
        <a:lnSpc>
          <a:spcPts val="2510"/>
        </a:lnSpc>
        <a:spcBef>
          <a:spcPct val="0"/>
        </a:spcBef>
        <a:spcAft>
          <a:spcPct val="0"/>
        </a:spcAft>
        <a:defRPr sz="2052">
          <a:solidFill>
            <a:schemeClr val="tx1"/>
          </a:solidFill>
          <a:latin typeface="EYInterstate" pitchFamily="2" charset="0"/>
        </a:defRPr>
      </a:lvl8pPr>
      <a:lvl9pPr marL="1550343" algn="l" defTabSz="843807"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43807" rtl="0" eaLnBrk="1" fontAlgn="base" hangingPunct="1">
        <a:lnSpc>
          <a:spcPts val="1454"/>
        </a:lnSpc>
        <a:spcBef>
          <a:spcPct val="0"/>
        </a:spcBef>
        <a:spcAft>
          <a:spcPct val="0"/>
        </a:spcAft>
        <a:defRPr sz="1539">
          <a:solidFill>
            <a:srgbClr val="000000"/>
          </a:solidFill>
          <a:latin typeface="EYInterstate Regular" pitchFamily="2" charset="0"/>
          <a:ea typeface="+mn-ea"/>
          <a:cs typeface="+mn-cs"/>
        </a:defRPr>
      </a:lvl1pPr>
      <a:lvl2pPr marL="1358" marR="0" indent="0" algn="l" defTabSz="843807"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43807"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8" algn="l" defTabSz="843807"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5551" indent="-88826" algn="l" defTabSz="843807" rtl="0" eaLnBrk="1" fontAlgn="base" hangingPunct="1">
        <a:lnSpc>
          <a:spcPct val="130000"/>
        </a:lnSpc>
        <a:spcBef>
          <a:spcPts val="513"/>
        </a:spcBef>
        <a:spcAft>
          <a:spcPct val="0"/>
        </a:spcAft>
        <a:buClr>
          <a:srgbClr val="58595B"/>
        </a:buClr>
        <a:buSzPct val="100000"/>
        <a:buFont typeface="EYInterstate Light" pitchFamily="2" charset="0"/>
        <a:buChar char="•"/>
        <a:tabLst>
          <a:tab pos="95551" algn="l"/>
        </a:tabLst>
        <a:defRPr sz="770">
          <a:solidFill>
            <a:srgbClr val="000000"/>
          </a:solidFill>
          <a:latin typeface="EYInterstate Light" pitchFamily="2" charset="0"/>
        </a:defRPr>
      </a:lvl5pPr>
      <a:lvl6pPr marL="46294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5053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38122"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25706"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75161" rtl="0" eaLnBrk="1" latinLnBrk="0" hangingPunct="1">
        <a:defRPr sz="1539" kern="1200">
          <a:solidFill>
            <a:schemeClr val="tx1"/>
          </a:solidFill>
          <a:latin typeface="+mn-lt"/>
          <a:ea typeface="+mn-ea"/>
          <a:cs typeface="+mn-cs"/>
        </a:defRPr>
      </a:lvl1pPr>
      <a:lvl2pPr marL="387561" algn="l" defTabSz="775161" rtl="0" eaLnBrk="1" latinLnBrk="0" hangingPunct="1">
        <a:defRPr sz="1539" kern="1200">
          <a:solidFill>
            <a:schemeClr val="tx1"/>
          </a:solidFill>
          <a:latin typeface="+mn-lt"/>
          <a:ea typeface="+mn-ea"/>
          <a:cs typeface="+mn-cs"/>
        </a:defRPr>
      </a:lvl2pPr>
      <a:lvl3pPr marL="775161" algn="l" defTabSz="775161" rtl="0" eaLnBrk="1" latinLnBrk="0" hangingPunct="1">
        <a:defRPr sz="1539" kern="1200">
          <a:solidFill>
            <a:schemeClr val="tx1"/>
          </a:solidFill>
          <a:latin typeface="+mn-lt"/>
          <a:ea typeface="+mn-ea"/>
          <a:cs typeface="+mn-cs"/>
        </a:defRPr>
      </a:lvl3pPr>
      <a:lvl4pPr marL="1162756" algn="l" defTabSz="775161" rtl="0" eaLnBrk="1" latinLnBrk="0" hangingPunct="1">
        <a:defRPr sz="1539" kern="1200">
          <a:solidFill>
            <a:schemeClr val="tx1"/>
          </a:solidFill>
          <a:latin typeface="+mn-lt"/>
          <a:ea typeface="+mn-ea"/>
          <a:cs typeface="+mn-cs"/>
        </a:defRPr>
      </a:lvl4pPr>
      <a:lvl5pPr marL="1550343" algn="l" defTabSz="775161" rtl="0" eaLnBrk="1" latinLnBrk="0" hangingPunct="1">
        <a:defRPr sz="1539" kern="1200">
          <a:solidFill>
            <a:schemeClr val="tx1"/>
          </a:solidFill>
          <a:latin typeface="+mn-lt"/>
          <a:ea typeface="+mn-ea"/>
          <a:cs typeface="+mn-cs"/>
        </a:defRPr>
      </a:lvl5pPr>
      <a:lvl6pPr marL="1937931" algn="l" defTabSz="775161" rtl="0" eaLnBrk="1" latinLnBrk="0" hangingPunct="1">
        <a:defRPr sz="1539" kern="1200">
          <a:solidFill>
            <a:schemeClr val="tx1"/>
          </a:solidFill>
          <a:latin typeface="+mn-lt"/>
          <a:ea typeface="+mn-ea"/>
          <a:cs typeface="+mn-cs"/>
        </a:defRPr>
      </a:lvl6pPr>
      <a:lvl7pPr marL="2325516" algn="l" defTabSz="775161" rtl="0" eaLnBrk="1" latinLnBrk="0" hangingPunct="1">
        <a:defRPr sz="1539" kern="1200">
          <a:solidFill>
            <a:schemeClr val="tx1"/>
          </a:solidFill>
          <a:latin typeface="+mn-lt"/>
          <a:ea typeface="+mn-ea"/>
          <a:cs typeface="+mn-cs"/>
        </a:defRPr>
      </a:lvl7pPr>
      <a:lvl8pPr marL="2713101" algn="l" defTabSz="775161" rtl="0" eaLnBrk="1" latinLnBrk="0" hangingPunct="1">
        <a:defRPr sz="1539" kern="1200">
          <a:solidFill>
            <a:schemeClr val="tx1"/>
          </a:solidFill>
          <a:latin typeface="+mn-lt"/>
          <a:ea typeface="+mn-ea"/>
          <a:cs typeface="+mn-cs"/>
        </a:defRPr>
      </a:lvl8pPr>
      <a:lvl9pPr marL="3100690" algn="l" defTabSz="775161" rtl="0" eaLnBrk="1" latinLnBrk="0" hangingPunct="1">
        <a:defRPr sz="153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70605123"/>
              </p:ext>
            </p:extLst>
          </p:nvPr>
        </p:nvGraphicFramePr>
        <p:xfrm>
          <a:off x="1822" y="1450"/>
          <a:ext cx="1809" cy="143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822" y="1450"/>
                        <a:ext cx="1809" cy="1439"/>
                      </a:xfrm>
                      <a:prstGeom prst="rect">
                        <a:avLst/>
                      </a:prstGeom>
                    </p:spPr>
                  </p:pic>
                </p:oleObj>
              </mc:Fallback>
            </mc:AlternateContent>
          </a:graphicData>
        </a:graphic>
      </p:graphicFrame>
      <p:sp>
        <p:nvSpPr>
          <p:cNvPr id="102412" name="Rectangle 12"/>
          <p:cNvSpPr>
            <a:spLocks noGrp="1" noChangeArrowheads="1"/>
          </p:cNvSpPr>
          <p:nvPr>
            <p:ph type="title"/>
          </p:nvPr>
        </p:nvSpPr>
        <p:spPr bwMode="auto">
          <a:xfrm>
            <a:off x="4312531" y="554390"/>
            <a:ext cx="7133117" cy="303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a:t>Headline 1</a:t>
            </a:r>
          </a:p>
        </p:txBody>
      </p:sp>
      <p:sp>
        <p:nvSpPr>
          <p:cNvPr id="6" name="TextBox 5"/>
          <p:cNvSpPr txBox="1"/>
          <p:nvPr userDrawn="1"/>
        </p:nvSpPr>
        <p:spPr>
          <a:xfrm>
            <a:off x="609600" y="6409944"/>
            <a:ext cx="963168" cy="201168"/>
          </a:xfrm>
          <a:prstGeom prst="rect">
            <a:avLst/>
          </a:prstGeom>
          <a:noFill/>
        </p:spPr>
        <p:txBody>
          <a:bodyPr wrap="square" lIns="0" tIns="0" rIns="0" bIns="0" rtlCol="0" anchor="ctr" anchorCtr="0">
            <a:noAutofit/>
          </a:bodyPr>
          <a:lstStyle/>
          <a:p>
            <a:r>
              <a:rPr lang="en-GB" sz="1100">
                <a:solidFill>
                  <a:srgbClr val="646464"/>
                </a:solidFill>
                <a:cs typeface="Arial" pitchFamily="34" charset="0"/>
              </a:rPr>
              <a:t>Page </a:t>
            </a:r>
            <a:fld id="{9AE4D82F-B047-469B-AC52-A46321747EAF}" type="slidenum">
              <a:rPr lang="en-GB" sz="1100" smtClean="0">
                <a:solidFill>
                  <a:srgbClr val="646464"/>
                </a:solidFill>
                <a:cs typeface="Arial" pitchFamily="34" charset="0"/>
              </a:rPr>
              <a:pPr/>
              <a:t>‹#›</a:t>
            </a:fld>
            <a:endParaRPr lang="en-GB" sz="1100">
              <a:solidFill>
                <a:srgbClr val="646464"/>
              </a:solidFill>
              <a:cs typeface="Arial" pitchFamily="34" charset="0"/>
            </a:endParaRPr>
          </a:p>
        </p:txBody>
      </p:sp>
      <p:grpSp>
        <p:nvGrpSpPr>
          <p:cNvPr id="8" name="Group 7"/>
          <p:cNvGrpSpPr/>
          <p:nvPr userDrawn="1"/>
        </p:nvGrpSpPr>
        <p:grpSpPr bwMode="gray">
          <a:xfrm>
            <a:off x="11131552" y="6450014"/>
            <a:ext cx="450849" cy="204787"/>
            <a:chOff x="8348663" y="6450013"/>
            <a:chExt cx="338137" cy="204787"/>
          </a:xfrm>
          <a:solidFill>
            <a:srgbClr val="808080"/>
          </a:solidFill>
        </p:grpSpPr>
        <p:sp>
          <p:nvSpPr>
            <p:cNvPr id="9"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10"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grpSp>
      <p:sp>
        <p:nvSpPr>
          <p:cNvPr id="11" name="TextBox 10"/>
          <p:cNvSpPr txBox="1"/>
          <p:nvPr userDrawn="1"/>
        </p:nvSpPr>
        <p:spPr>
          <a:xfrm>
            <a:off x="3556000" y="6405276"/>
            <a:ext cx="655442" cy="217503"/>
          </a:xfrm>
          <a:prstGeom prst="rect">
            <a:avLst/>
          </a:prstGeom>
          <a:noFill/>
        </p:spPr>
        <p:txBody>
          <a:bodyPr wrap="none" lIns="0" tIns="38802" rIns="77603" bIns="38802" rtlCol="0">
            <a:spAutoFit/>
          </a:bodyPr>
          <a:lstStyle/>
          <a:p>
            <a:pPr fontAlgn="base">
              <a:lnSpc>
                <a:spcPts val="1197"/>
              </a:lnSpc>
              <a:spcBef>
                <a:spcPct val="0"/>
              </a:spcBef>
              <a:spcAft>
                <a:spcPct val="0"/>
              </a:spcAft>
            </a:pPr>
            <a:r>
              <a:rPr lang="en-US" sz="770">
                <a:solidFill>
                  <a:srgbClr val="7F7E82"/>
                </a:solidFill>
                <a:latin typeface="EYInterstate Regular" pitchFamily="1" charset="0"/>
              </a:rPr>
              <a:t>Confidential </a:t>
            </a:r>
          </a:p>
        </p:txBody>
      </p:sp>
    </p:spTree>
    <p:extLst>
      <p:ext uri="{BB962C8B-B14F-4D97-AF65-F5344CB8AC3E}">
        <p14:creationId xmlns:p14="http://schemas.microsoft.com/office/powerpoint/2010/main" val="1896262148"/>
      </p:ext>
    </p:extLst>
  </p:cSld>
  <p:clrMap bg1="lt1" tx1="dk1" bg2="lt2" tx2="dk2" accent1="accent1" accent2="accent2" accent3="accent3" accent4="accent4" accent5="accent5" accent6="accent6" hlink="hlink" folHlink="folHlink"/>
  <p:sldLayoutIdLst>
    <p:sldLayoutId id="2147484080" r:id="rId1"/>
    <p:sldLayoutId id="2147484081" r:id="rId2"/>
  </p:sldLayoutIdLst>
  <p:hf hdr="0" ftr="0" dt="0"/>
  <p:txStyles>
    <p:titleStyle>
      <a:lvl1pPr algn="l" defTabSz="843807" rtl="0" eaLnBrk="1" fontAlgn="base" hangingPunct="1">
        <a:lnSpc>
          <a:spcPts val="2510"/>
        </a:lnSpc>
        <a:spcBef>
          <a:spcPct val="0"/>
        </a:spcBef>
        <a:spcAft>
          <a:spcPct val="0"/>
        </a:spcAft>
        <a:defRPr sz="2052">
          <a:solidFill>
            <a:schemeClr val="tx2">
              <a:lumMod val="75000"/>
            </a:schemeClr>
          </a:solidFill>
          <a:latin typeface="EYInterstate Regular" pitchFamily="2" charset="0"/>
          <a:ea typeface="+mj-ea"/>
          <a:cs typeface="+mj-cs"/>
        </a:defRPr>
      </a:lvl1pPr>
      <a:lvl2pPr algn="l" defTabSz="843807" rtl="0" eaLnBrk="1" fontAlgn="base" hangingPunct="1">
        <a:lnSpc>
          <a:spcPts val="2510"/>
        </a:lnSpc>
        <a:spcBef>
          <a:spcPct val="0"/>
        </a:spcBef>
        <a:spcAft>
          <a:spcPct val="0"/>
        </a:spcAft>
        <a:defRPr sz="2052">
          <a:solidFill>
            <a:schemeClr val="tx1"/>
          </a:solidFill>
          <a:latin typeface="EYInterstate" pitchFamily="2" charset="0"/>
        </a:defRPr>
      </a:lvl2pPr>
      <a:lvl3pPr algn="l" defTabSz="843807" rtl="0" eaLnBrk="1" fontAlgn="base" hangingPunct="1">
        <a:lnSpc>
          <a:spcPts val="2510"/>
        </a:lnSpc>
        <a:spcBef>
          <a:spcPct val="0"/>
        </a:spcBef>
        <a:spcAft>
          <a:spcPct val="0"/>
        </a:spcAft>
        <a:defRPr sz="2052">
          <a:solidFill>
            <a:schemeClr val="tx1"/>
          </a:solidFill>
          <a:latin typeface="EYInterstate" pitchFamily="2" charset="0"/>
        </a:defRPr>
      </a:lvl3pPr>
      <a:lvl4pPr algn="l" defTabSz="843807" rtl="0" eaLnBrk="1" fontAlgn="base" hangingPunct="1">
        <a:lnSpc>
          <a:spcPts val="2510"/>
        </a:lnSpc>
        <a:spcBef>
          <a:spcPct val="0"/>
        </a:spcBef>
        <a:spcAft>
          <a:spcPct val="0"/>
        </a:spcAft>
        <a:defRPr sz="2052">
          <a:solidFill>
            <a:schemeClr val="tx1"/>
          </a:solidFill>
          <a:latin typeface="EYInterstate" pitchFamily="2" charset="0"/>
        </a:defRPr>
      </a:lvl4pPr>
      <a:lvl5pPr algn="l" defTabSz="843807" rtl="0" eaLnBrk="1" fontAlgn="base" hangingPunct="1">
        <a:lnSpc>
          <a:spcPts val="2510"/>
        </a:lnSpc>
        <a:spcBef>
          <a:spcPct val="0"/>
        </a:spcBef>
        <a:spcAft>
          <a:spcPct val="0"/>
        </a:spcAft>
        <a:defRPr sz="2052">
          <a:solidFill>
            <a:schemeClr val="tx1"/>
          </a:solidFill>
          <a:latin typeface="EYInterstate" pitchFamily="2" charset="0"/>
        </a:defRPr>
      </a:lvl5pPr>
      <a:lvl6pPr marL="387561" algn="l" defTabSz="843807" rtl="0" eaLnBrk="1" fontAlgn="base" hangingPunct="1">
        <a:lnSpc>
          <a:spcPts val="2510"/>
        </a:lnSpc>
        <a:spcBef>
          <a:spcPct val="0"/>
        </a:spcBef>
        <a:spcAft>
          <a:spcPct val="0"/>
        </a:spcAft>
        <a:defRPr sz="2052">
          <a:solidFill>
            <a:schemeClr val="tx1"/>
          </a:solidFill>
          <a:latin typeface="EYInterstate" pitchFamily="2" charset="0"/>
        </a:defRPr>
      </a:lvl6pPr>
      <a:lvl7pPr marL="775161" algn="l" defTabSz="843807" rtl="0" eaLnBrk="1" fontAlgn="base" hangingPunct="1">
        <a:lnSpc>
          <a:spcPts val="2510"/>
        </a:lnSpc>
        <a:spcBef>
          <a:spcPct val="0"/>
        </a:spcBef>
        <a:spcAft>
          <a:spcPct val="0"/>
        </a:spcAft>
        <a:defRPr sz="2052">
          <a:solidFill>
            <a:schemeClr val="tx1"/>
          </a:solidFill>
          <a:latin typeface="EYInterstate" pitchFamily="2" charset="0"/>
        </a:defRPr>
      </a:lvl7pPr>
      <a:lvl8pPr marL="1162756" algn="l" defTabSz="843807" rtl="0" eaLnBrk="1" fontAlgn="base" hangingPunct="1">
        <a:lnSpc>
          <a:spcPts val="2510"/>
        </a:lnSpc>
        <a:spcBef>
          <a:spcPct val="0"/>
        </a:spcBef>
        <a:spcAft>
          <a:spcPct val="0"/>
        </a:spcAft>
        <a:defRPr sz="2052">
          <a:solidFill>
            <a:schemeClr val="tx1"/>
          </a:solidFill>
          <a:latin typeface="EYInterstate" pitchFamily="2" charset="0"/>
        </a:defRPr>
      </a:lvl8pPr>
      <a:lvl9pPr marL="1550343" algn="l" defTabSz="843807"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43807" rtl="0" eaLnBrk="1" fontAlgn="base" hangingPunct="1">
        <a:lnSpc>
          <a:spcPts val="1454"/>
        </a:lnSpc>
        <a:spcBef>
          <a:spcPct val="0"/>
        </a:spcBef>
        <a:spcAft>
          <a:spcPct val="0"/>
        </a:spcAft>
        <a:defRPr sz="1539">
          <a:solidFill>
            <a:srgbClr val="000000"/>
          </a:solidFill>
          <a:latin typeface="EYInterstate Regular" pitchFamily="2" charset="0"/>
          <a:ea typeface="+mn-ea"/>
          <a:cs typeface="+mn-cs"/>
        </a:defRPr>
      </a:lvl1pPr>
      <a:lvl2pPr marL="1358" marR="0" indent="0" algn="l" defTabSz="843807"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43807"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8" algn="l" defTabSz="843807"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5551" indent="-88826" algn="l" defTabSz="843807" rtl="0" eaLnBrk="1" fontAlgn="base" hangingPunct="1">
        <a:lnSpc>
          <a:spcPct val="130000"/>
        </a:lnSpc>
        <a:spcBef>
          <a:spcPts val="513"/>
        </a:spcBef>
        <a:spcAft>
          <a:spcPct val="0"/>
        </a:spcAft>
        <a:buClr>
          <a:srgbClr val="58595B"/>
        </a:buClr>
        <a:buSzPct val="100000"/>
        <a:buFont typeface="EYInterstate Light" pitchFamily="2" charset="0"/>
        <a:buChar char="•"/>
        <a:tabLst>
          <a:tab pos="95551" algn="l"/>
        </a:tabLst>
        <a:defRPr sz="770">
          <a:solidFill>
            <a:srgbClr val="000000"/>
          </a:solidFill>
          <a:latin typeface="EYInterstate Light" pitchFamily="2" charset="0"/>
        </a:defRPr>
      </a:lvl5pPr>
      <a:lvl6pPr marL="46294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5053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38122"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25706"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75161" rtl="0" eaLnBrk="1" latinLnBrk="0" hangingPunct="1">
        <a:defRPr sz="1539" kern="1200">
          <a:solidFill>
            <a:schemeClr val="tx1"/>
          </a:solidFill>
          <a:latin typeface="+mn-lt"/>
          <a:ea typeface="+mn-ea"/>
          <a:cs typeface="+mn-cs"/>
        </a:defRPr>
      </a:lvl1pPr>
      <a:lvl2pPr marL="387561" algn="l" defTabSz="775161" rtl="0" eaLnBrk="1" latinLnBrk="0" hangingPunct="1">
        <a:defRPr sz="1539" kern="1200">
          <a:solidFill>
            <a:schemeClr val="tx1"/>
          </a:solidFill>
          <a:latin typeface="+mn-lt"/>
          <a:ea typeface="+mn-ea"/>
          <a:cs typeface="+mn-cs"/>
        </a:defRPr>
      </a:lvl2pPr>
      <a:lvl3pPr marL="775161" algn="l" defTabSz="775161" rtl="0" eaLnBrk="1" latinLnBrk="0" hangingPunct="1">
        <a:defRPr sz="1539" kern="1200">
          <a:solidFill>
            <a:schemeClr val="tx1"/>
          </a:solidFill>
          <a:latin typeface="+mn-lt"/>
          <a:ea typeface="+mn-ea"/>
          <a:cs typeface="+mn-cs"/>
        </a:defRPr>
      </a:lvl3pPr>
      <a:lvl4pPr marL="1162756" algn="l" defTabSz="775161" rtl="0" eaLnBrk="1" latinLnBrk="0" hangingPunct="1">
        <a:defRPr sz="1539" kern="1200">
          <a:solidFill>
            <a:schemeClr val="tx1"/>
          </a:solidFill>
          <a:latin typeface="+mn-lt"/>
          <a:ea typeface="+mn-ea"/>
          <a:cs typeface="+mn-cs"/>
        </a:defRPr>
      </a:lvl4pPr>
      <a:lvl5pPr marL="1550343" algn="l" defTabSz="775161" rtl="0" eaLnBrk="1" latinLnBrk="0" hangingPunct="1">
        <a:defRPr sz="1539" kern="1200">
          <a:solidFill>
            <a:schemeClr val="tx1"/>
          </a:solidFill>
          <a:latin typeface="+mn-lt"/>
          <a:ea typeface="+mn-ea"/>
          <a:cs typeface="+mn-cs"/>
        </a:defRPr>
      </a:lvl5pPr>
      <a:lvl6pPr marL="1937931" algn="l" defTabSz="775161" rtl="0" eaLnBrk="1" latinLnBrk="0" hangingPunct="1">
        <a:defRPr sz="1539" kern="1200">
          <a:solidFill>
            <a:schemeClr val="tx1"/>
          </a:solidFill>
          <a:latin typeface="+mn-lt"/>
          <a:ea typeface="+mn-ea"/>
          <a:cs typeface="+mn-cs"/>
        </a:defRPr>
      </a:lvl6pPr>
      <a:lvl7pPr marL="2325516" algn="l" defTabSz="775161" rtl="0" eaLnBrk="1" latinLnBrk="0" hangingPunct="1">
        <a:defRPr sz="1539" kern="1200">
          <a:solidFill>
            <a:schemeClr val="tx1"/>
          </a:solidFill>
          <a:latin typeface="+mn-lt"/>
          <a:ea typeface="+mn-ea"/>
          <a:cs typeface="+mn-cs"/>
        </a:defRPr>
      </a:lvl7pPr>
      <a:lvl8pPr marL="2713101" algn="l" defTabSz="775161" rtl="0" eaLnBrk="1" latinLnBrk="0" hangingPunct="1">
        <a:defRPr sz="1539" kern="1200">
          <a:solidFill>
            <a:schemeClr val="tx1"/>
          </a:solidFill>
          <a:latin typeface="+mn-lt"/>
          <a:ea typeface="+mn-ea"/>
          <a:cs typeface="+mn-cs"/>
        </a:defRPr>
      </a:lvl8pPr>
      <a:lvl9pPr marL="3100690" algn="l" defTabSz="775161" rtl="0" eaLnBrk="1" latinLnBrk="0" hangingPunct="1">
        <a:defRPr sz="153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5"/>
            </p:custDataLst>
            <p:extLst>
              <p:ext uri="{D42A27DB-BD31-4B8C-83A1-F6EECF244321}">
                <p14:modId xmlns:p14="http://schemas.microsoft.com/office/powerpoint/2010/main" val="182757970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7" imgW="352" imgH="318" progId="TCLayout.ActiveDocument.1">
                  <p:embed/>
                </p:oleObj>
              </mc:Choice>
              <mc:Fallback>
                <p:oleObj name="think-cell Slide" r:id="rId27"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8"/>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6"/>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0919" lvl="2" indent="-233246"/>
            <a:r>
              <a:rPr lang="en-US" noProof="0"/>
              <a:t>Third level</a:t>
            </a:r>
          </a:p>
          <a:p>
            <a:pPr marL="745752" lvl="3" indent="-231659"/>
            <a:r>
              <a:rPr lang="en-US" noProof="0"/>
              <a:t>Fourth level</a:t>
            </a:r>
          </a:p>
          <a:p>
            <a:pPr marL="944091" lvl="4" indent="-201512">
              <a:buClr>
                <a:srgbClr val="FFE600"/>
              </a:buClr>
            </a:pPr>
            <a:r>
              <a:rPr lang="en-US" noProof="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5 September 2022</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a:t>EY DE PPT Gallery</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7"/>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Tree>
    <p:extLst>
      <p:ext uri="{BB962C8B-B14F-4D97-AF65-F5344CB8AC3E}">
        <p14:creationId xmlns:p14="http://schemas.microsoft.com/office/powerpoint/2010/main" val="29702273"/>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5" r:id="rId13"/>
  </p:sldLayoutIdLst>
  <p:hf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153932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2402613982"/>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 id="2147484138" r:id="rId32"/>
    <p:sldLayoutId id="2147484139" r:id="rId33"/>
    <p:sldLayoutId id="2147484140" r:id="rId34"/>
    <p:sldLayoutId id="2147484141" r:id="rId35"/>
    <p:sldLayoutId id="2147484142" r:id="rId36"/>
    <p:sldLayoutId id="2147484143" r:id="rId37"/>
    <p:sldLayoutId id="2147484144" r:id="rId38"/>
    <p:sldLayoutId id="2147484145" r:id="rId39"/>
    <p:sldLayoutId id="2147484146" r:id="rId40"/>
    <p:sldLayoutId id="2147484147" r:id="rId41"/>
    <p:sldLayoutId id="2147484148" r:id="rId42"/>
    <p:sldLayoutId id="2147484149" r:id="rId43"/>
    <p:sldLayoutId id="2147484150" r:id="rId44"/>
    <p:sldLayoutId id="2147484151" r:id="rId45"/>
    <p:sldLayoutId id="2147484152" r:id="rId46"/>
    <p:sldLayoutId id="2147484153" r:id="rId47"/>
    <p:sldLayoutId id="2147484154" r:id="rId48"/>
    <p:sldLayoutId id="2147484155" r:id="rId49"/>
    <p:sldLayoutId id="2147484156" r:id="rId50"/>
    <p:sldLayoutId id="2147484157" r:id="rId51"/>
    <p:sldLayoutId id="2147484158" r:id="rId52"/>
    <p:sldLayoutId id="2147484159" r:id="rId53"/>
    <p:sldLayoutId id="2147484160" r:id="rId54"/>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7.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35.bin"/><Relationship Id="rId13" Type="http://schemas.openxmlformats.org/officeDocument/2006/relationships/image" Target="../media/image43.svg"/><Relationship Id="rId3" Type="http://schemas.openxmlformats.org/officeDocument/2006/relationships/tags" Target="../tags/tag61.xml"/><Relationship Id="rId7" Type="http://schemas.openxmlformats.org/officeDocument/2006/relationships/slideLayout" Target="../slideLayouts/slideLayout215.xml"/><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tags" Target="../tags/tag60.xml"/><Relationship Id="rId16" Type="http://schemas.openxmlformats.org/officeDocument/2006/relationships/image" Target="../media/image46.png"/><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41.svg"/><Relationship Id="rId5" Type="http://schemas.openxmlformats.org/officeDocument/2006/relationships/tags" Target="../tags/tag63.xml"/><Relationship Id="rId15" Type="http://schemas.openxmlformats.org/officeDocument/2006/relationships/image" Target="../media/image45.svg"/><Relationship Id="rId10" Type="http://schemas.openxmlformats.org/officeDocument/2006/relationships/image" Target="../media/image40.png"/><Relationship Id="rId4" Type="http://schemas.openxmlformats.org/officeDocument/2006/relationships/tags" Target="../tags/tag62.xml"/><Relationship Id="rId9" Type="http://schemas.openxmlformats.org/officeDocument/2006/relationships/image" Target="../media/image1.emf"/><Relationship Id="rId1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15.xml"/><Relationship Id="rId1" Type="http://schemas.openxmlformats.org/officeDocument/2006/relationships/tags" Target="../tags/tag6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oleObject" Target="../embeddings/oleObject37.bin"/><Relationship Id="rId7" Type="http://schemas.openxmlformats.org/officeDocument/2006/relationships/image" Target="../media/image50.png"/><Relationship Id="rId2" Type="http://schemas.openxmlformats.org/officeDocument/2006/relationships/slideLayout" Target="../slideLayouts/slideLayout215.xml"/><Relationship Id="rId1" Type="http://schemas.openxmlformats.org/officeDocument/2006/relationships/tags" Target="../tags/tag6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09.xml"/><Relationship Id="rId1" Type="http://schemas.openxmlformats.org/officeDocument/2006/relationships/tags" Target="../tags/tag67.xml"/><Relationship Id="rId5" Type="http://schemas.openxmlformats.org/officeDocument/2006/relationships/image" Target="../media/image36.jpe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16.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svg"/><Relationship Id="rId3" Type="http://schemas.openxmlformats.org/officeDocument/2006/relationships/oleObject" Target="../embeddings/oleObject39.bin"/><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image" Target="../media/image64.png"/><Relationship Id="rId2" Type="http://schemas.openxmlformats.org/officeDocument/2006/relationships/slideLayout" Target="../slideLayouts/slideLayout215.xml"/><Relationship Id="rId16" Type="http://schemas.openxmlformats.org/officeDocument/2006/relationships/image" Target="../media/image63.svg"/><Relationship Id="rId20" Type="http://schemas.openxmlformats.org/officeDocument/2006/relationships/image" Target="../media/image67.svg"/><Relationship Id="rId1" Type="http://schemas.openxmlformats.org/officeDocument/2006/relationships/tags" Target="../tags/tag68.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svg"/><Relationship Id="rId19" Type="http://schemas.openxmlformats.org/officeDocument/2006/relationships/image" Target="../media/image66.png"/><Relationship Id="rId4" Type="http://schemas.openxmlformats.org/officeDocument/2006/relationships/image" Target="../media/image1.emf"/><Relationship Id="rId9" Type="http://schemas.openxmlformats.org/officeDocument/2006/relationships/image" Target="../media/image56.png"/><Relationship Id="rId14" Type="http://schemas.openxmlformats.org/officeDocument/2006/relationships/image" Target="../media/image61.svg"/></Relationships>
</file>

<file path=ppt/slides/_rels/slide17.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8.xml"/><Relationship Id="rId16" Type="http://schemas.openxmlformats.org/officeDocument/2006/relationships/image" Target="../media/image82.png"/><Relationship Id="rId1" Type="http://schemas.openxmlformats.org/officeDocument/2006/relationships/slideLayout" Target="../slideLayouts/slideLayout242.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sv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2.xml"/><Relationship Id="rId7" Type="http://schemas.openxmlformats.org/officeDocument/2006/relationships/image" Target="../media/image84.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9.emf"/><Relationship Id="rId5" Type="http://schemas.openxmlformats.org/officeDocument/2006/relationships/oleObject" Target="../embeddings/oleObject40.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15.xml"/><Relationship Id="rId1" Type="http://schemas.openxmlformats.org/officeDocument/2006/relationships/tags" Target="../tags/tag7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44.xml"/><Relationship Id="rId1" Type="http://schemas.openxmlformats.org/officeDocument/2006/relationships/tags" Target="../tags/tag48.xml"/><Relationship Id="rId6" Type="http://schemas.openxmlformats.org/officeDocument/2006/relationships/image" Target="../media/image3.jpeg"/><Relationship Id="rId5" Type="http://schemas.openxmlformats.org/officeDocument/2006/relationships/image" Target="../media/image35.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60.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0.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31.xml"/><Relationship Id="rId1" Type="http://schemas.openxmlformats.org/officeDocument/2006/relationships/tags" Target="../tags/tag73.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31.xml"/><Relationship Id="rId1" Type="http://schemas.openxmlformats.org/officeDocument/2006/relationships/tags" Target="../tags/tag7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31.xml"/><Relationship Id="rId1" Type="http://schemas.openxmlformats.org/officeDocument/2006/relationships/tags" Target="../tags/tag7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09.xml"/><Relationship Id="rId1" Type="http://schemas.openxmlformats.org/officeDocument/2006/relationships/tags" Target="../tags/tag76.xml"/><Relationship Id="rId5" Type="http://schemas.openxmlformats.org/officeDocument/2006/relationships/image" Target="../media/image36.jpe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15.xml"/><Relationship Id="rId1" Type="http://schemas.openxmlformats.org/officeDocument/2006/relationships/tags" Target="../tags/tag77.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7.xml"/><Relationship Id="rId1" Type="http://schemas.openxmlformats.org/officeDocument/2006/relationships/tags" Target="../tags/tag49.xml"/><Relationship Id="rId5" Type="http://schemas.openxmlformats.org/officeDocument/2006/relationships/image" Target="../media/image36.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39.png"/><Relationship Id="rId2" Type="http://schemas.openxmlformats.org/officeDocument/2006/relationships/slideLayout" Target="../slideLayouts/slideLayout20.xml"/><Relationship Id="rId1" Type="http://schemas.openxmlformats.org/officeDocument/2006/relationships/tags" Target="../tags/tag50.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9.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30.bin"/><Relationship Id="rId5" Type="http://schemas.openxmlformats.org/officeDocument/2006/relationships/notesSlide" Target="../notesSlides/notesSlide3.xml"/><Relationship Id="rId4"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42.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9.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2.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143A23-E961-4A42-B1AB-6034958EC228}"/>
              </a:ext>
            </a:extLst>
          </p:cNvPr>
          <p:cNvGraphicFramePr>
            <a:graphicFrameLocks noChangeAspect="1"/>
          </p:cNvGraphicFramePr>
          <p:nvPr>
            <p:custDataLst>
              <p:tags r:id="rId1"/>
            </p:custDataLst>
            <p:extLst>
              <p:ext uri="{D42A27DB-BD31-4B8C-83A1-F6EECF244321}">
                <p14:modId xmlns:p14="http://schemas.microsoft.com/office/powerpoint/2010/main" val="91477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7A143A23-E961-4A42-B1AB-6034958EC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8AB7AF0-EEA9-4FF3-8261-1BC1B376059F}"/>
              </a:ext>
            </a:extLst>
          </p:cNvPr>
          <p:cNvSpPr>
            <a:spLocks noGrp="1"/>
          </p:cNvSpPr>
          <p:nvPr>
            <p:ph type="ctrTitle"/>
          </p:nvPr>
        </p:nvSpPr>
        <p:spPr/>
        <p:txBody>
          <a:bodyPr vert="horz"/>
          <a:lstStyle/>
          <a:p>
            <a:r>
              <a:rPr lang="en-US"/>
              <a:t>Technical Design Authority</a:t>
            </a:r>
            <a:br>
              <a:rPr lang="en-US"/>
            </a:br>
            <a:r>
              <a:rPr lang="en-US" sz="2000">
                <a:solidFill>
                  <a:schemeClr val="tx1"/>
                </a:solidFill>
              </a:rPr>
              <a:t>CDO: Data Strategy and Data Governance Update</a:t>
            </a:r>
            <a:endParaRPr lang="en-US">
              <a:solidFill>
                <a:schemeClr val="tx1"/>
              </a:solidFill>
            </a:endParaRPr>
          </a:p>
        </p:txBody>
      </p:sp>
      <p:sp>
        <p:nvSpPr>
          <p:cNvPr id="4" name="Text Placeholder 9">
            <a:extLst>
              <a:ext uri="{FF2B5EF4-FFF2-40B4-BE49-F238E27FC236}">
                <a16:creationId xmlns:a16="http://schemas.microsoft.com/office/drawing/2014/main" id="{0ED719E8-A8F3-43BC-83A1-412A8B111F3F}"/>
              </a:ext>
            </a:extLst>
          </p:cNvPr>
          <p:cNvSpPr txBox="1">
            <a:spLocks/>
          </p:cNvSpPr>
          <p:nvPr/>
        </p:nvSpPr>
        <p:spPr>
          <a:xfrm>
            <a:off x="431800" y="5073074"/>
            <a:ext cx="5372652" cy="388459"/>
          </a:xfrm>
          <a:prstGeom prst="rect">
            <a:avLst/>
          </a:prstGeom>
        </p:spPr>
        <p:txBody>
          <a:bodyPr lIns="0" tIns="0" rIns="0" bIns="0" anchor="t"/>
          <a:lstStyle>
            <a:lvl1pPr marL="0" indent="0" algn="l" defTabSz="685783" rtl="0" eaLnBrk="1" latinLnBrk="0" hangingPunct="1">
              <a:lnSpc>
                <a:spcPct val="108000"/>
              </a:lnSpc>
              <a:spcBef>
                <a:spcPts val="750"/>
              </a:spcBef>
              <a:buClr>
                <a:schemeClr val="accent1"/>
              </a:buClr>
              <a:buSzPct val="100000"/>
              <a:buFont typeface="Arial" panose="020B0604020202020204" pitchFamily="34" charset="0"/>
              <a:buNone/>
              <a:defRPr sz="2000" b="0" i="0" kern="1200" baseline="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a:rPr>
              <a:t>5th September 2022</a:t>
            </a:r>
          </a:p>
        </p:txBody>
      </p:sp>
    </p:spTree>
    <p:extLst>
      <p:ext uri="{BB962C8B-B14F-4D97-AF65-F5344CB8AC3E}">
        <p14:creationId xmlns:p14="http://schemas.microsoft.com/office/powerpoint/2010/main" val="3050373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1"/>
            </p:custDataLst>
            <p:extLst>
              <p:ext uri="{D42A27DB-BD31-4B8C-83A1-F6EECF244321}">
                <p14:modId xmlns:p14="http://schemas.microsoft.com/office/powerpoint/2010/main" val="3348629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2686021457"/>
              </p:ext>
            </p:extLst>
          </p:nvPr>
        </p:nvGraphicFramePr>
        <p:xfrm>
          <a:off x="556452" y="966020"/>
          <a:ext cx="11053655" cy="5234940"/>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297135">
                  <a:extLst>
                    <a:ext uri="{9D8B030D-6E8A-4147-A177-3AD203B41FA5}">
                      <a16:colId xmlns:a16="http://schemas.microsoft.com/office/drawing/2014/main" val="3036217877"/>
                    </a:ext>
                  </a:extLst>
                </a:gridCol>
                <a:gridCol w="1059703">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198698">
                  <a:extLst>
                    <a:ext uri="{9D8B030D-6E8A-4147-A177-3AD203B41FA5}">
                      <a16:colId xmlns:a16="http://schemas.microsoft.com/office/drawing/2014/main" val="801489833"/>
                    </a:ext>
                  </a:extLst>
                </a:gridCol>
                <a:gridCol w="1198698">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694406">
                <a:tc>
                  <a:txBody>
                    <a:bodyPr/>
                    <a:lstStyle/>
                    <a:p>
                      <a:pPr rtl="0"/>
                      <a:r>
                        <a:rPr lang="en-US" sz="1000"/>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interfac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fine all data interfaces between application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4/5/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liminate ambiguity and rework.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694406">
                <a:tc>
                  <a:txBody>
                    <a:bodyPr/>
                    <a:lstStyle/>
                    <a:p>
                      <a:pPr rtl="0"/>
                      <a:r>
                        <a:rPr lang="en-US" sz="1000"/>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aming Standard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Ensure naming/definition standards are agreed and adhered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certainty of what descriptions/names of concep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845363">
                <a:tc>
                  <a:txBody>
                    <a:bodyPr/>
                    <a:lstStyle/>
                    <a:p>
                      <a:pPr rtl="0"/>
                      <a:r>
                        <a:rPr lang="en-US" sz="1000"/>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rchitecture</a:t>
                      </a:r>
                    </a:p>
                    <a:p>
                      <a:pPr rtl="0"/>
                      <a:r>
                        <a:rPr lang="en-US" sz="1000"/>
                        <a:t>(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DA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Data Delivery agreements miss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694406">
                <a:tc>
                  <a:txBody>
                    <a:bodyPr/>
                    <a:lstStyle/>
                    <a:p>
                      <a:pPr rtl="0"/>
                      <a:r>
                        <a:rPr lang="en-US" sz="1000"/>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BOR/IBOR decision mak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cide on ABOR or IBOR for reporting purpo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Y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845363">
                <a:tc>
                  <a:txBody>
                    <a:bodyPr/>
                    <a:lstStyle/>
                    <a:p>
                      <a:pPr rtl="0"/>
                      <a:r>
                        <a:rPr lang="en-US" sz="1000"/>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Data Governa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FI/Vendor management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kern="1200">
                          <a:solidFill>
                            <a:schemeClr val="dk1"/>
                          </a:solidFill>
                          <a:effectLst/>
                          <a:latin typeface="+mn-lt"/>
                          <a:ea typeface="+mn-ea"/>
                          <a:cs typeface="+mn-cs"/>
                        </a:rPr>
                        <a:t>Data governance mandate; authority to purchase data needs to get back to governance </a:t>
                      </a: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Vendor Managemen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that responsibilities are organized in the right plac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845363">
                <a:tc>
                  <a:txBody>
                    <a:bodyPr/>
                    <a:lstStyle/>
                    <a:p>
                      <a:pPr rtl="0"/>
                      <a:r>
                        <a:rPr lang="en-US" sz="1000"/>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Ten commandments for data architectur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10 commandments that data architects must adhere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Architecture, Data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ing a unified way of working among data architects and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lvl="0" defTabSz="913029">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rioritize </a:t>
            </a:r>
            <a:r>
              <a:rPr lang="en-US" sz="2798">
                <a:solidFill>
                  <a:srgbClr val="0069B4"/>
                </a:solidFill>
              </a:rPr>
              <a:t>our top day-to-day data </a:t>
            </a: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challenges</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4792269" y="172471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chemeClr val="bg1"/>
                </a:solidFill>
                <a:effectLst/>
                <a:uLnTx/>
                <a:uFillTx/>
                <a:latin typeface="EYInterstate Light"/>
              </a:rPr>
              <a:t>L</a:t>
            </a:r>
            <a:endParaRPr kumimoji="0" lang="en-US" sz="1800" b="0" i="0" u="none" strike="noStrike" kern="0" cap="none" spc="0" normalizeH="0" baseline="0">
              <a:ln>
                <a:noFill/>
              </a:ln>
              <a:solidFill>
                <a:schemeClr val="bg1"/>
              </a:solidFill>
              <a:effectLst/>
              <a:uLnTx/>
              <a:uFillTx/>
              <a:latin typeface="EYInterstate Light"/>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4792269" y="247016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S</a:t>
            </a:r>
            <a:endParaRPr kumimoji="0" lang="en-US" sz="1800" b="0" i="0" u="none" strike="noStrike" kern="0" cap="none" spc="0" normalizeH="0" baseline="0">
              <a:ln>
                <a:noFill/>
              </a:ln>
              <a:solidFill>
                <a:schemeClr val="bg1"/>
              </a:solidFill>
              <a:effectLst/>
              <a:uLnTx/>
              <a:uFillTx/>
              <a:latin typeface="EYInterstate Light"/>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4792269" y="3215612"/>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M</a:t>
            </a:r>
            <a:endParaRPr kumimoji="0" lang="en-US" sz="1800" b="0" i="0" u="none" strike="noStrike" kern="0" cap="none" spc="0" normalizeH="0" baseline="0">
              <a:ln>
                <a:noFill/>
              </a:ln>
              <a:solidFill>
                <a:schemeClr val="bg1"/>
              </a:solidFill>
              <a:effectLst/>
              <a:uLnTx/>
              <a:uFillTx/>
              <a:latin typeface="EYInterstate Light"/>
            </a:endParaRPr>
          </a:p>
        </p:txBody>
      </p:sp>
      <p:sp>
        <p:nvSpPr>
          <p:cNvPr id="10" name="Freeform 39">
            <a:extLst>
              <a:ext uri="{FF2B5EF4-FFF2-40B4-BE49-F238E27FC236}">
                <a16:creationId xmlns:a16="http://schemas.microsoft.com/office/drawing/2014/main" id="{BE17C23F-EDB0-4306-8EDA-75FE9A11271E}"/>
              </a:ext>
            </a:extLst>
          </p:cNvPr>
          <p:cNvSpPr>
            <a:spLocks/>
          </p:cNvSpPr>
          <p:nvPr/>
        </p:nvSpPr>
        <p:spPr bwMode="auto">
          <a:xfrm>
            <a:off x="4792269" y="3961063"/>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M</a:t>
            </a:r>
            <a:endParaRPr kumimoji="0" lang="en-US" sz="1800" b="0" i="0" u="none" strike="noStrike" kern="0" cap="none" spc="0" normalizeH="0" baseline="0">
              <a:ln>
                <a:noFill/>
              </a:ln>
              <a:solidFill>
                <a:schemeClr val="bg1"/>
              </a:solidFill>
              <a:effectLst/>
              <a:uLnTx/>
              <a:uFillTx/>
              <a:latin typeface="EYInterstate Light"/>
            </a:endParaRPr>
          </a:p>
        </p:txBody>
      </p:sp>
      <p:sp>
        <p:nvSpPr>
          <p:cNvPr id="11" name="Freeform 39">
            <a:extLst>
              <a:ext uri="{FF2B5EF4-FFF2-40B4-BE49-F238E27FC236}">
                <a16:creationId xmlns:a16="http://schemas.microsoft.com/office/drawing/2014/main" id="{3C4B8040-4FA3-440B-892C-B6DE6275F028}"/>
              </a:ext>
            </a:extLst>
          </p:cNvPr>
          <p:cNvSpPr>
            <a:spLocks/>
          </p:cNvSpPr>
          <p:nvPr/>
        </p:nvSpPr>
        <p:spPr bwMode="auto">
          <a:xfrm>
            <a:off x="4792269" y="559050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chemeClr val="bg1"/>
                </a:solidFill>
                <a:effectLst/>
                <a:uLnTx/>
                <a:uFillTx/>
                <a:latin typeface="EYInterstate Light"/>
              </a:rPr>
              <a:t>S</a:t>
            </a:r>
            <a:endParaRPr kumimoji="0" lang="en-US" sz="1800" b="0" i="0" u="none" strike="noStrike" kern="0" cap="none" spc="0" normalizeH="0" baseline="0">
              <a:ln>
                <a:noFill/>
              </a:ln>
              <a:solidFill>
                <a:schemeClr val="bg1"/>
              </a:solidFill>
              <a:effectLst/>
              <a:uLnTx/>
              <a:uFillTx/>
              <a:latin typeface="EYInterstate Light"/>
            </a:endParaRPr>
          </a:p>
        </p:txBody>
      </p:sp>
      <p:sp>
        <p:nvSpPr>
          <p:cNvPr id="12" name="Freeform 39">
            <a:extLst>
              <a:ext uri="{FF2B5EF4-FFF2-40B4-BE49-F238E27FC236}">
                <a16:creationId xmlns:a16="http://schemas.microsoft.com/office/drawing/2014/main" id="{7B969AB3-F1DA-4D49-A37A-723294B26A19}"/>
              </a:ext>
            </a:extLst>
          </p:cNvPr>
          <p:cNvSpPr>
            <a:spLocks/>
          </p:cNvSpPr>
          <p:nvPr/>
        </p:nvSpPr>
        <p:spPr bwMode="auto">
          <a:xfrm>
            <a:off x="4792269" y="474345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M</a:t>
            </a:r>
            <a:endParaRPr kumimoji="0" lang="en-US" sz="1800" b="0" i="0" u="none" strike="noStrike" kern="0" cap="none" spc="0" normalizeH="0" baseline="0">
              <a:ln>
                <a:noFill/>
              </a:ln>
              <a:solidFill>
                <a:schemeClr val="bg1"/>
              </a:solidFill>
              <a:effectLst/>
              <a:uLnTx/>
              <a:uFillTx/>
              <a:latin typeface="EYInterstate Light"/>
            </a:endParaRPr>
          </a:p>
        </p:txBody>
      </p:sp>
    </p:spTree>
    <p:extLst>
      <p:ext uri="{BB962C8B-B14F-4D97-AF65-F5344CB8AC3E}">
        <p14:creationId xmlns:p14="http://schemas.microsoft.com/office/powerpoint/2010/main" val="2963877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494CD-135A-4DE0-97D6-88BE7FB52C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7" name="Object 6" hidden="1">
                        <a:extLst>
                          <a:ext uri="{FF2B5EF4-FFF2-40B4-BE49-F238E27FC236}">
                            <a16:creationId xmlns:a16="http://schemas.microsoft.com/office/drawing/2014/main" id="{F12494CD-135A-4DE0-97D6-88BE7FB52CB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D34AAC38-AA0B-4157-A388-E347A5EDECEE}"/>
              </a:ext>
            </a:extLst>
          </p:cNvPr>
          <p:cNvSpPr>
            <a:spLocks noGrp="1"/>
          </p:cNvSpPr>
          <p:nvPr>
            <p:ph type="ctrTitle"/>
          </p:nvPr>
        </p:nvSpPr>
        <p:spPr/>
        <p:txBody>
          <a:bodyPr vert="horz">
            <a:normAutofit fontScale="90000"/>
          </a:bodyPr>
          <a:lstStyle/>
          <a:p>
            <a:r>
              <a:rPr lang="en-US"/>
              <a:t>What progress has been made so for in (re)launching Data Governance</a:t>
            </a:r>
          </a:p>
        </p:txBody>
      </p:sp>
      <p:grpSp>
        <p:nvGrpSpPr>
          <p:cNvPr id="37" name="Group 36">
            <a:extLst>
              <a:ext uri="{FF2B5EF4-FFF2-40B4-BE49-F238E27FC236}">
                <a16:creationId xmlns:a16="http://schemas.microsoft.com/office/drawing/2014/main" id="{5CBF333C-E00B-4444-BE1A-D5923E0AD0A6}"/>
              </a:ext>
            </a:extLst>
          </p:cNvPr>
          <p:cNvGrpSpPr/>
          <p:nvPr/>
        </p:nvGrpSpPr>
        <p:grpSpPr>
          <a:xfrm>
            <a:off x="576000" y="875266"/>
            <a:ext cx="11289433" cy="5550055"/>
            <a:chOff x="576000" y="810614"/>
            <a:chExt cx="11289433" cy="5550055"/>
          </a:xfrm>
        </p:grpSpPr>
        <p:sp>
          <p:nvSpPr>
            <p:cNvPr id="47" name="Freeform 40">
              <a:extLst>
                <a:ext uri="{FF2B5EF4-FFF2-40B4-BE49-F238E27FC236}">
                  <a16:creationId xmlns:a16="http://schemas.microsoft.com/office/drawing/2014/main" id="{AEBE8F9F-333B-44D7-997D-E2B86787B36D}"/>
                </a:ext>
              </a:extLst>
            </p:cNvPr>
            <p:cNvSpPr>
              <a:spLocks noChangeArrowheads="1"/>
            </p:cNvSpPr>
            <p:nvPr/>
          </p:nvSpPr>
          <p:spPr bwMode="auto">
            <a:xfrm>
              <a:off x="606120" y="1709242"/>
              <a:ext cx="10968379" cy="4417479"/>
            </a:xfrm>
            <a:custGeom>
              <a:avLst/>
              <a:gdLst>
                <a:gd name="connsiteX0" fmla="*/ 0 w 15300169"/>
                <a:gd name="connsiteY0" fmla="*/ 0 h 10892052"/>
                <a:gd name="connsiteX1" fmla="*/ 755186 w 15300169"/>
                <a:gd name="connsiteY1" fmla="*/ 8838 h 10892052"/>
                <a:gd name="connsiteX2" fmla="*/ 6100971 w 15300169"/>
                <a:gd name="connsiteY2" fmla="*/ 545226 h 10892052"/>
                <a:gd name="connsiteX3" fmla="*/ 8350585 w 15300169"/>
                <a:gd name="connsiteY3" fmla="*/ 1218642 h 10892052"/>
                <a:gd name="connsiteX4" fmla="*/ 9246965 w 15300169"/>
                <a:gd name="connsiteY4" fmla="*/ 2170087 h 10892052"/>
                <a:gd name="connsiteX5" fmla="*/ 9061072 w 15300169"/>
                <a:gd name="connsiteY5" fmla="*/ 2578863 h 10892052"/>
                <a:gd name="connsiteX6" fmla="*/ 8579800 w 15300169"/>
                <a:gd name="connsiteY6" fmla="*/ 2886034 h 10892052"/>
                <a:gd name="connsiteX7" fmla="*/ 7124955 w 15300169"/>
                <a:gd name="connsiteY7" fmla="*/ 3341279 h 10892052"/>
                <a:gd name="connsiteX8" fmla="*/ 4881642 w 15300169"/>
                <a:gd name="connsiteY8" fmla="*/ 4599897 h 10892052"/>
                <a:gd name="connsiteX9" fmla="*/ 5749666 w 15300169"/>
                <a:gd name="connsiteY9" fmla="*/ 5101612 h 10892052"/>
                <a:gd name="connsiteX10" fmla="*/ 7895306 w 15300169"/>
                <a:gd name="connsiteY10" fmla="*/ 5658458 h 10892052"/>
                <a:gd name="connsiteX11" fmla="*/ 11455620 w 15300169"/>
                <a:gd name="connsiteY11" fmla="*/ 6617780 h 10892052"/>
                <a:gd name="connsiteX12" fmla="*/ 14096711 w 15300169"/>
                <a:gd name="connsiteY12" fmla="*/ 8015807 h 10892052"/>
                <a:gd name="connsiteX13" fmla="*/ 14926138 w 15300169"/>
                <a:gd name="connsiteY13" fmla="*/ 9207477 h 10892052"/>
                <a:gd name="connsiteX14" fmla="*/ 15254601 w 15300169"/>
                <a:gd name="connsiteY14" fmla="*/ 10210905 h 10892052"/>
                <a:gd name="connsiteX15" fmla="*/ 15300015 w 15300169"/>
                <a:gd name="connsiteY15" fmla="*/ 10759883 h 10892052"/>
                <a:gd name="connsiteX16" fmla="*/ 15295120 w 15300169"/>
                <a:gd name="connsiteY16" fmla="*/ 10892052 h 10892052"/>
                <a:gd name="connsiteX17" fmla="*/ 11490954 w 15300169"/>
                <a:gd name="connsiteY17" fmla="*/ 10892052 h 10892052"/>
                <a:gd name="connsiteX18" fmla="*/ 11492884 w 15300169"/>
                <a:gd name="connsiteY18" fmla="*/ 10875985 h 10892052"/>
                <a:gd name="connsiteX19" fmla="*/ 11480038 w 15300169"/>
                <a:gd name="connsiteY19" fmla="*/ 9969106 h 10892052"/>
                <a:gd name="connsiteX20" fmla="*/ 11129520 w 15300169"/>
                <a:gd name="connsiteY20" fmla="*/ 8962527 h 10892052"/>
                <a:gd name="connsiteX21" fmla="*/ 10190606 w 15300169"/>
                <a:gd name="connsiteY21" fmla="*/ 8092994 h 10892052"/>
                <a:gd name="connsiteX22" fmla="*/ 7142284 w 15300169"/>
                <a:gd name="connsiteY22" fmla="*/ 7155726 h 10892052"/>
                <a:gd name="connsiteX23" fmla="*/ 3452790 w 15300169"/>
                <a:gd name="connsiteY23" fmla="*/ 6064084 h 10892052"/>
                <a:gd name="connsiteX24" fmla="*/ 2152330 w 15300169"/>
                <a:gd name="connsiteY24" fmla="*/ 5363101 h 10892052"/>
                <a:gd name="connsiteX25" fmla="*/ 1641126 w 15300169"/>
                <a:gd name="connsiteY25" fmla="*/ 4498294 h 10892052"/>
                <a:gd name="connsiteX26" fmla="*/ 2572952 w 15300169"/>
                <a:gd name="connsiteY26" fmla="*/ 3279057 h 10892052"/>
                <a:gd name="connsiteX27" fmla="*/ 4432664 w 15300169"/>
                <a:gd name="connsiteY27" fmla="*/ 2682041 h 10892052"/>
                <a:gd name="connsiteX28" fmla="*/ 6008024 w 15300169"/>
                <a:gd name="connsiteY28" fmla="*/ 1945616 h 10892052"/>
                <a:gd name="connsiteX29" fmla="*/ 5758330 w 15300169"/>
                <a:gd name="connsiteY29" fmla="*/ 1656559 h 10892052"/>
                <a:gd name="connsiteX30" fmla="*/ 5074623 w 15300169"/>
                <a:gd name="connsiteY30" fmla="*/ 1402945 h 10892052"/>
                <a:gd name="connsiteX31" fmla="*/ 2988059 w 15300169"/>
                <a:gd name="connsiteY31" fmla="*/ 1038277 h 10892052"/>
                <a:gd name="connsiteX32" fmla="*/ 21666 w 15300169"/>
                <a:gd name="connsiteY32" fmla="*/ 786063 h 10892052"/>
                <a:gd name="connsiteX33" fmla="*/ 0 w 15300169"/>
                <a:gd name="connsiteY33" fmla="*/ 784940 h 10892052"/>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4046906 w 19347075"/>
                <a:gd name="connsiteY33" fmla="*/ 776101 h 10883213"/>
                <a:gd name="connsiteX34" fmla="*/ 0 w 19347075"/>
                <a:gd name="connsiteY34" fmla="*/ 23188 h 10883213"/>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2749327 w 19347075"/>
                <a:gd name="connsiteY33" fmla="*/ 808128 h 10883213"/>
                <a:gd name="connsiteX34" fmla="*/ 0 w 19347075"/>
                <a:gd name="connsiteY34" fmla="*/ 23188 h 10883213"/>
                <a:gd name="connsiteX0" fmla="*/ 33162 w 19380237"/>
                <a:gd name="connsiteY0" fmla="*/ 23188 h 10883213"/>
                <a:gd name="connsiteX1" fmla="*/ 4835254 w 19380237"/>
                <a:gd name="connsiteY1" fmla="*/ -1 h 10883213"/>
                <a:gd name="connsiteX2" fmla="*/ 10181039 w 19380237"/>
                <a:gd name="connsiteY2" fmla="*/ 536387 h 10883213"/>
                <a:gd name="connsiteX3" fmla="*/ 12430653 w 19380237"/>
                <a:gd name="connsiteY3" fmla="*/ 1209803 h 10883213"/>
                <a:gd name="connsiteX4" fmla="*/ 13327033 w 19380237"/>
                <a:gd name="connsiteY4" fmla="*/ 2161248 h 10883213"/>
                <a:gd name="connsiteX5" fmla="*/ 13141140 w 19380237"/>
                <a:gd name="connsiteY5" fmla="*/ 2570024 h 10883213"/>
                <a:gd name="connsiteX6" fmla="*/ 12659868 w 19380237"/>
                <a:gd name="connsiteY6" fmla="*/ 2877195 h 10883213"/>
                <a:gd name="connsiteX7" fmla="*/ 11205023 w 19380237"/>
                <a:gd name="connsiteY7" fmla="*/ 3332440 h 10883213"/>
                <a:gd name="connsiteX8" fmla="*/ 8961710 w 19380237"/>
                <a:gd name="connsiteY8" fmla="*/ 4591058 h 10883213"/>
                <a:gd name="connsiteX9" fmla="*/ 9829734 w 19380237"/>
                <a:gd name="connsiteY9" fmla="*/ 5092773 h 10883213"/>
                <a:gd name="connsiteX10" fmla="*/ 11975374 w 19380237"/>
                <a:gd name="connsiteY10" fmla="*/ 5649619 h 10883213"/>
                <a:gd name="connsiteX11" fmla="*/ 15535688 w 19380237"/>
                <a:gd name="connsiteY11" fmla="*/ 6608941 h 10883213"/>
                <a:gd name="connsiteX12" fmla="*/ 18176779 w 19380237"/>
                <a:gd name="connsiteY12" fmla="*/ 8006968 h 10883213"/>
                <a:gd name="connsiteX13" fmla="*/ 19006206 w 19380237"/>
                <a:gd name="connsiteY13" fmla="*/ 9198638 h 10883213"/>
                <a:gd name="connsiteX14" fmla="*/ 19334669 w 19380237"/>
                <a:gd name="connsiteY14" fmla="*/ 10202066 h 10883213"/>
                <a:gd name="connsiteX15" fmla="*/ 19380083 w 19380237"/>
                <a:gd name="connsiteY15" fmla="*/ 10751044 h 10883213"/>
                <a:gd name="connsiteX16" fmla="*/ 19375188 w 19380237"/>
                <a:gd name="connsiteY16" fmla="*/ 10883213 h 10883213"/>
                <a:gd name="connsiteX17" fmla="*/ 15571022 w 19380237"/>
                <a:gd name="connsiteY17" fmla="*/ 10883213 h 10883213"/>
                <a:gd name="connsiteX18" fmla="*/ 15572952 w 19380237"/>
                <a:gd name="connsiteY18" fmla="*/ 10867146 h 10883213"/>
                <a:gd name="connsiteX19" fmla="*/ 15560106 w 19380237"/>
                <a:gd name="connsiteY19" fmla="*/ 9960267 h 10883213"/>
                <a:gd name="connsiteX20" fmla="*/ 15209588 w 19380237"/>
                <a:gd name="connsiteY20" fmla="*/ 8953688 h 10883213"/>
                <a:gd name="connsiteX21" fmla="*/ 14270674 w 19380237"/>
                <a:gd name="connsiteY21" fmla="*/ 8084155 h 10883213"/>
                <a:gd name="connsiteX22" fmla="*/ 11222352 w 19380237"/>
                <a:gd name="connsiteY22" fmla="*/ 7146887 h 10883213"/>
                <a:gd name="connsiteX23" fmla="*/ 7532858 w 19380237"/>
                <a:gd name="connsiteY23" fmla="*/ 6055245 h 10883213"/>
                <a:gd name="connsiteX24" fmla="*/ 6232398 w 19380237"/>
                <a:gd name="connsiteY24" fmla="*/ 5354262 h 10883213"/>
                <a:gd name="connsiteX25" fmla="*/ 5721194 w 19380237"/>
                <a:gd name="connsiteY25" fmla="*/ 4489455 h 10883213"/>
                <a:gd name="connsiteX26" fmla="*/ 6653020 w 19380237"/>
                <a:gd name="connsiteY26" fmla="*/ 3270218 h 10883213"/>
                <a:gd name="connsiteX27" fmla="*/ 8512732 w 19380237"/>
                <a:gd name="connsiteY27" fmla="*/ 2673202 h 10883213"/>
                <a:gd name="connsiteX28" fmla="*/ 10088092 w 19380237"/>
                <a:gd name="connsiteY28" fmla="*/ 1936777 h 10883213"/>
                <a:gd name="connsiteX29" fmla="*/ 9838398 w 19380237"/>
                <a:gd name="connsiteY29" fmla="*/ 1647720 h 10883213"/>
                <a:gd name="connsiteX30" fmla="*/ 9154691 w 19380237"/>
                <a:gd name="connsiteY30" fmla="*/ 1394106 h 10883213"/>
                <a:gd name="connsiteX31" fmla="*/ 7068127 w 19380237"/>
                <a:gd name="connsiteY31" fmla="*/ 1029438 h 10883213"/>
                <a:gd name="connsiteX32" fmla="*/ 4101734 w 19380237"/>
                <a:gd name="connsiteY32" fmla="*/ 777224 h 10883213"/>
                <a:gd name="connsiteX33" fmla="*/ 2782489 w 19380237"/>
                <a:gd name="connsiteY33" fmla="*/ 808128 h 10883213"/>
                <a:gd name="connsiteX34" fmla="*/ 33162 w 19380237"/>
                <a:gd name="connsiteY34" fmla="*/ 23188 h 10883213"/>
                <a:gd name="connsiteX0" fmla="*/ 44126 w 19391201"/>
                <a:gd name="connsiteY0" fmla="*/ 23188 h 10883213"/>
                <a:gd name="connsiteX1" fmla="*/ 4846218 w 19391201"/>
                <a:gd name="connsiteY1" fmla="*/ -1 h 10883213"/>
                <a:gd name="connsiteX2" fmla="*/ 10192003 w 19391201"/>
                <a:gd name="connsiteY2" fmla="*/ 536387 h 10883213"/>
                <a:gd name="connsiteX3" fmla="*/ 12441617 w 19391201"/>
                <a:gd name="connsiteY3" fmla="*/ 1209803 h 10883213"/>
                <a:gd name="connsiteX4" fmla="*/ 13337997 w 19391201"/>
                <a:gd name="connsiteY4" fmla="*/ 2161248 h 10883213"/>
                <a:gd name="connsiteX5" fmla="*/ 13152104 w 19391201"/>
                <a:gd name="connsiteY5" fmla="*/ 2570024 h 10883213"/>
                <a:gd name="connsiteX6" fmla="*/ 12670832 w 19391201"/>
                <a:gd name="connsiteY6" fmla="*/ 2877195 h 10883213"/>
                <a:gd name="connsiteX7" fmla="*/ 11215987 w 19391201"/>
                <a:gd name="connsiteY7" fmla="*/ 3332440 h 10883213"/>
                <a:gd name="connsiteX8" fmla="*/ 8972674 w 19391201"/>
                <a:gd name="connsiteY8" fmla="*/ 4591058 h 10883213"/>
                <a:gd name="connsiteX9" fmla="*/ 9840698 w 19391201"/>
                <a:gd name="connsiteY9" fmla="*/ 5092773 h 10883213"/>
                <a:gd name="connsiteX10" fmla="*/ 11986338 w 19391201"/>
                <a:gd name="connsiteY10" fmla="*/ 5649619 h 10883213"/>
                <a:gd name="connsiteX11" fmla="*/ 15546652 w 19391201"/>
                <a:gd name="connsiteY11" fmla="*/ 6608941 h 10883213"/>
                <a:gd name="connsiteX12" fmla="*/ 18187743 w 19391201"/>
                <a:gd name="connsiteY12" fmla="*/ 8006968 h 10883213"/>
                <a:gd name="connsiteX13" fmla="*/ 19017170 w 19391201"/>
                <a:gd name="connsiteY13" fmla="*/ 9198638 h 10883213"/>
                <a:gd name="connsiteX14" fmla="*/ 19345633 w 19391201"/>
                <a:gd name="connsiteY14" fmla="*/ 10202066 h 10883213"/>
                <a:gd name="connsiteX15" fmla="*/ 19391047 w 19391201"/>
                <a:gd name="connsiteY15" fmla="*/ 10751044 h 10883213"/>
                <a:gd name="connsiteX16" fmla="*/ 19386152 w 19391201"/>
                <a:gd name="connsiteY16" fmla="*/ 10883213 h 10883213"/>
                <a:gd name="connsiteX17" fmla="*/ 15581986 w 19391201"/>
                <a:gd name="connsiteY17" fmla="*/ 10883213 h 10883213"/>
                <a:gd name="connsiteX18" fmla="*/ 15583916 w 19391201"/>
                <a:gd name="connsiteY18" fmla="*/ 10867146 h 10883213"/>
                <a:gd name="connsiteX19" fmla="*/ 15571070 w 19391201"/>
                <a:gd name="connsiteY19" fmla="*/ 9960267 h 10883213"/>
                <a:gd name="connsiteX20" fmla="*/ 15220552 w 19391201"/>
                <a:gd name="connsiteY20" fmla="*/ 8953688 h 10883213"/>
                <a:gd name="connsiteX21" fmla="*/ 14281638 w 19391201"/>
                <a:gd name="connsiteY21" fmla="*/ 8084155 h 10883213"/>
                <a:gd name="connsiteX22" fmla="*/ 11233316 w 19391201"/>
                <a:gd name="connsiteY22" fmla="*/ 7146887 h 10883213"/>
                <a:gd name="connsiteX23" fmla="*/ 7543822 w 19391201"/>
                <a:gd name="connsiteY23" fmla="*/ 6055245 h 10883213"/>
                <a:gd name="connsiteX24" fmla="*/ 6243362 w 19391201"/>
                <a:gd name="connsiteY24" fmla="*/ 5354262 h 10883213"/>
                <a:gd name="connsiteX25" fmla="*/ 5732158 w 19391201"/>
                <a:gd name="connsiteY25" fmla="*/ 4489455 h 10883213"/>
                <a:gd name="connsiteX26" fmla="*/ 6663984 w 19391201"/>
                <a:gd name="connsiteY26" fmla="*/ 3270218 h 10883213"/>
                <a:gd name="connsiteX27" fmla="*/ 8523696 w 19391201"/>
                <a:gd name="connsiteY27" fmla="*/ 2673202 h 10883213"/>
                <a:gd name="connsiteX28" fmla="*/ 10099056 w 19391201"/>
                <a:gd name="connsiteY28" fmla="*/ 1936777 h 10883213"/>
                <a:gd name="connsiteX29" fmla="*/ 9849362 w 19391201"/>
                <a:gd name="connsiteY29" fmla="*/ 1647720 h 10883213"/>
                <a:gd name="connsiteX30" fmla="*/ 9165655 w 19391201"/>
                <a:gd name="connsiteY30" fmla="*/ 1394106 h 10883213"/>
                <a:gd name="connsiteX31" fmla="*/ 7079091 w 19391201"/>
                <a:gd name="connsiteY31" fmla="*/ 1029438 h 10883213"/>
                <a:gd name="connsiteX32" fmla="*/ 4112698 w 19391201"/>
                <a:gd name="connsiteY32" fmla="*/ 777224 h 10883213"/>
                <a:gd name="connsiteX33" fmla="*/ 2793453 w 19391201"/>
                <a:gd name="connsiteY33" fmla="*/ 808128 h 10883213"/>
                <a:gd name="connsiteX34" fmla="*/ 44126 w 19391201"/>
                <a:gd name="connsiteY34" fmla="*/ 23188 h 10883213"/>
                <a:gd name="connsiteX0" fmla="*/ 205051 w 19552126"/>
                <a:gd name="connsiteY0" fmla="*/ 23188 h 10883213"/>
                <a:gd name="connsiteX1" fmla="*/ 5007143 w 19552126"/>
                <a:gd name="connsiteY1" fmla="*/ -1 h 10883213"/>
                <a:gd name="connsiteX2" fmla="*/ 10352928 w 19552126"/>
                <a:gd name="connsiteY2" fmla="*/ 536387 h 10883213"/>
                <a:gd name="connsiteX3" fmla="*/ 12602542 w 19552126"/>
                <a:gd name="connsiteY3" fmla="*/ 1209803 h 10883213"/>
                <a:gd name="connsiteX4" fmla="*/ 13498922 w 19552126"/>
                <a:gd name="connsiteY4" fmla="*/ 2161248 h 10883213"/>
                <a:gd name="connsiteX5" fmla="*/ 13313029 w 19552126"/>
                <a:gd name="connsiteY5" fmla="*/ 2570024 h 10883213"/>
                <a:gd name="connsiteX6" fmla="*/ 12831757 w 19552126"/>
                <a:gd name="connsiteY6" fmla="*/ 2877195 h 10883213"/>
                <a:gd name="connsiteX7" fmla="*/ 11376912 w 19552126"/>
                <a:gd name="connsiteY7" fmla="*/ 3332440 h 10883213"/>
                <a:gd name="connsiteX8" fmla="*/ 9133599 w 19552126"/>
                <a:gd name="connsiteY8" fmla="*/ 4591058 h 10883213"/>
                <a:gd name="connsiteX9" fmla="*/ 10001623 w 19552126"/>
                <a:gd name="connsiteY9" fmla="*/ 5092773 h 10883213"/>
                <a:gd name="connsiteX10" fmla="*/ 12147263 w 19552126"/>
                <a:gd name="connsiteY10" fmla="*/ 5649619 h 10883213"/>
                <a:gd name="connsiteX11" fmla="*/ 15707577 w 19552126"/>
                <a:gd name="connsiteY11" fmla="*/ 6608941 h 10883213"/>
                <a:gd name="connsiteX12" fmla="*/ 18348668 w 19552126"/>
                <a:gd name="connsiteY12" fmla="*/ 8006968 h 10883213"/>
                <a:gd name="connsiteX13" fmla="*/ 19178095 w 19552126"/>
                <a:gd name="connsiteY13" fmla="*/ 9198638 h 10883213"/>
                <a:gd name="connsiteX14" fmla="*/ 19506558 w 19552126"/>
                <a:gd name="connsiteY14" fmla="*/ 10202066 h 10883213"/>
                <a:gd name="connsiteX15" fmla="*/ 19551972 w 19552126"/>
                <a:gd name="connsiteY15" fmla="*/ 10751044 h 10883213"/>
                <a:gd name="connsiteX16" fmla="*/ 19547077 w 19552126"/>
                <a:gd name="connsiteY16" fmla="*/ 10883213 h 10883213"/>
                <a:gd name="connsiteX17" fmla="*/ 15742911 w 19552126"/>
                <a:gd name="connsiteY17" fmla="*/ 10883213 h 10883213"/>
                <a:gd name="connsiteX18" fmla="*/ 15744841 w 19552126"/>
                <a:gd name="connsiteY18" fmla="*/ 10867146 h 10883213"/>
                <a:gd name="connsiteX19" fmla="*/ 15731995 w 19552126"/>
                <a:gd name="connsiteY19" fmla="*/ 9960267 h 10883213"/>
                <a:gd name="connsiteX20" fmla="*/ 15381477 w 19552126"/>
                <a:gd name="connsiteY20" fmla="*/ 8953688 h 10883213"/>
                <a:gd name="connsiteX21" fmla="*/ 14442563 w 19552126"/>
                <a:gd name="connsiteY21" fmla="*/ 8084155 h 10883213"/>
                <a:gd name="connsiteX22" fmla="*/ 11394241 w 19552126"/>
                <a:gd name="connsiteY22" fmla="*/ 7146887 h 10883213"/>
                <a:gd name="connsiteX23" fmla="*/ 7704747 w 19552126"/>
                <a:gd name="connsiteY23" fmla="*/ 6055245 h 10883213"/>
                <a:gd name="connsiteX24" fmla="*/ 6404287 w 19552126"/>
                <a:gd name="connsiteY24" fmla="*/ 5354262 h 10883213"/>
                <a:gd name="connsiteX25" fmla="*/ 5893083 w 19552126"/>
                <a:gd name="connsiteY25" fmla="*/ 4489455 h 10883213"/>
                <a:gd name="connsiteX26" fmla="*/ 6824909 w 19552126"/>
                <a:gd name="connsiteY26" fmla="*/ 3270218 h 10883213"/>
                <a:gd name="connsiteX27" fmla="*/ 8684621 w 19552126"/>
                <a:gd name="connsiteY27" fmla="*/ 2673202 h 10883213"/>
                <a:gd name="connsiteX28" fmla="*/ 10259981 w 19552126"/>
                <a:gd name="connsiteY28" fmla="*/ 1936777 h 10883213"/>
                <a:gd name="connsiteX29" fmla="*/ 10010287 w 19552126"/>
                <a:gd name="connsiteY29" fmla="*/ 1647720 h 10883213"/>
                <a:gd name="connsiteX30" fmla="*/ 9326580 w 19552126"/>
                <a:gd name="connsiteY30" fmla="*/ 1394106 h 10883213"/>
                <a:gd name="connsiteX31" fmla="*/ 7240016 w 19552126"/>
                <a:gd name="connsiteY31" fmla="*/ 1029438 h 10883213"/>
                <a:gd name="connsiteX32" fmla="*/ 4273623 w 19552126"/>
                <a:gd name="connsiteY32" fmla="*/ 777224 h 10883213"/>
                <a:gd name="connsiteX33" fmla="*/ 1181447 w 19552126"/>
                <a:gd name="connsiteY33" fmla="*/ 744074 h 10883213"/>
                <a:gd name="connsiteX34" fmla="*/ 205051 w 19552126"/>
                <a:gd name="connsiteY34" fmla="*/ 23188 h 10883213"/>
                <a:gd name="connsiteX0" fmla="*/ 54096 w 19401171"/>
                <a:gd name="connsiteY0" fmla="*/ 23188 h 10883213"/>
                <a:gd name="connsiteX1" fmla="*/ 4856188 w 19401171"/>
                <a:gd name="connsiteY1" fmla="*/ -1 h 10883213"/>
                <a:gd name="connsiteX2" fmla="*/ 10201973 w 19401171"/>
                <a:gd name="connsiteY2" fmla="*/ 536387 h 10883213"/>
                <a:gd name="connsiteX3" fmla="*/ 12451587 w 19401171"/>
                <a:gd name="connsiteY3" fmla="*/ 1209803 h 10883213"/>
                <a:gd name="connsiteX4" fmla="*/ 13347967 w 19401171"/>
                <a:gd name="connsiteY4" fmla="*/ 2161248 h 10883213"/>
                <a:gd name="connsiteX5" fmla="*/ 13162074 w 19401171"/>
                <a:gd name="connsiteY5" fmla="*/ 2570024 h 10883213"/>
                <a:gd name="connsiteX6" fmla="*/ 12680802 w 19401171"/>
                <a:gd name="connsiteY6" fmla="*/ 2877195 h 10883213"/>
                <a:gd name="connsiteX7" fmla="*/ 11225957 w 19401171"/>
                <a:gd name="connsiteY7" fmla="*/ 3332440 h 10883213"/>
                <a:gd name="connsiteX8" fmla="*/ 8982644 w 19401171"/>
                <a:gd name="connsiteY8" fmla="*/ 4591058 h 10883213"/>
                <a:gd name="connsiteX9" fmla="*/ 9850668 w 19401171"/>
                <a:gd name="connsiteY9" fmla="*/ 5092773 h 10883213"/>
                <a:gd name="connsiteX10" fmla="*/ 11996308 w 19401171"/>
                <a:gd name="connsiteY10" fmla="*/ 5649619 h 10883213"/>
                <a:gd name="connsiteX11" fmla="*/ 15556622 w 19401171"/>
                <a:gd name="connsiteY11" fmla="*/ 6608941 h 10883213"/>
                <a:gd name="connsiteX12" fmla="*/ 18197713 w 19401171"/>
                <a:gd name="connsiteY12" fmla="*/ 8006968 h 10883213"/>
                <a:gd name="connsiteX13" fmla="*/ 19027140 w 19401171"/>
                <a:gd name="connsiteY13" fmla="*/ 9198638 h 10883213"/>
                <a:gd name="connsiteX14" fmla="*/ 19355603 w 19401171"/>
                <a:gd name="connsiteY14" fmla="*/ 10202066 h 10883213"/>
                <a:gd name="connsiteX15" fmla="*/ 19401017 w 19401171"/>
                <a:gd name="connsiteY15" fmla="*/ 10751044 h 10883213"/>
                <a:gd name="connsiteX16" fmla="*/ 19396122 w 19401171"/>
                <a:gd name="connsiteY16" fmla="*/ 10883213 h 10883213"/>
                <a:gd name="connsiteX17" fmla="*/ 15591956 w 19401171"/>
                <a:gd name="connsiteY17" fmla="*/ 10883213 h 10883213"/>
                <a:gd name="connsiteX18" fmla="*/ 15593886 w 19401171"/>
                <a:gd name="connsiteY18" fmla="*/ 10867146 h 10883213"/>
                <a:gd name="connsiteX19" fmla="*/ 15581040 w 19401171"/>
                <a:gd name="connsiteY19" fmla="*/ 9960267 h 10883213"/>
                <a:gd name="connsiteX20" fmla="*/ 15230522 w 19401171"/>
                <a:gd name="connsiteY20" fmla="*/ 8953688 h 10883213"/>
                <a:gd name="connsiteX21" fmla="*/ 14291608 w 19401171"/>
                <a:gd name="connsiteY21" fmla="*/ 8084155 h 10883213"/>
                <a:gd name="connsiteX22" fmla="*/ 11243286 w 19401171"/>
                <a:gd name="connsiteY22" fmla="*/ 7146887 h 10883213"/>
                <a:gd name="connsiteX23" fmla="*/ 7553792 w 19401171"/>
                <a:gd name="connsiteY23" fmla="*/ 6055245 h 10883213"/>
                <a:gd name="connsiteX24" fmla="*/ 6253332 w 19401171"/>
                <a:gd name="connsiteY24" fmla="*/ 5354262 h 10883213"/>
                <a:gd name="connsiteX25" fmla="*/ 5742128 w 19401171"/>
                <a:gd name="connsiteY25" fmla="*/ 4489455 h 10883213"/>
                <a:gd name="connsiteX26" fmla="*/ 6673954 w 19401171"/>
                <a:gd name="connsiteY26" fmla="*/ 3270218 h 10883213"/>
                <a:gd name="connsiteX27" fmla="*/ 8533666 w 19401171"/>
                <a:gd name="connsiteY27" fmla="*/ 2673202 h 10883213"/>
                <a:gd name="connsiteX28" fmla="*/ 10109026 w 19401171"/>
                <a:gd name="connsiteY28" fmla="*/ 1936777 h 10883213"/>
                <a:gd name="connsiteX29" fmla="*/ 9859332 w 19401171"/>
                <a:gd name="connsiteY29" fmla="*/ 1647720 h 10883213"/>
                <a:gd name="connsiteX30" fmla="*/ 9175625 w 19401171"/>
                <a:gd name="connsiteY30" fmla="*/ 1394106 h 10883213"/>
                <a:gd name="connsiteX31" fmla="*/ 7089061 w 19401171"/>
                <a:gd name="connsiteY31" fmla="*/ 1029438 h 10883213"/>
                <a:gd name="connsiteX32" fmla="*/ 4122668 w 19401171"/>
                <a:gd name="connsiteY32" fmla="*/ 777224 h 10883213"/>
                <a:gd name="connsiteX33" fmla="*/ 1030492 w 19401171"/>
                <a:gd name="connsiteY33" fmla="*/ 744074 h 10883213"/>
                <a:gd name="connsiteX34" fmla="*/ 54096 w 19401171"/>
                <a:gd name="connsiteY34" fmla="*/ 23188 h 10883213"/>
                <a:gd name="connsiteX0" fmla="*/ 46 w 19347121"/>
                <a:gd name="connsiteY0" fmla="*/ 23188 h 10883213"/>
                <a:gd name="connsiteX1" fmla="*/ 4802138 w 19347121"/>
                <a:gd name="connsiteY1" fmla="*/ -1 h 10883213"/>
                <a:gd name="connsiteX2" fmla="*/ 10147923 w 19347121"/>
                <a:gd name="connsiteY2" fmla="*/ 536387 h 10883213"/>
                <a:gd name="connsiteX3" fmla="*/ 12397537 w 19347121"/>
                <a:gd name="connsiteY3" fmla="*/ 1209803 h 10883213"/>
                <a:gd name="connsiteX4" fmla="*/ 13293917 w 19347121"/>
                <a:gd name="connsiteY4" fmla="*/ 2161248 h 10883213"/>
                <a:gd name="connsiteX5" fmla="*/ 13108024 w 19347121"/>
                <a:gd name="connsiteY5" fmla="*/ 2570024 h 10883213"/>
                <a:gd name="connsiteX6" fmla="*/ 12626752 w 19347121"/>
                <a:gd name="connsiteY6" fmla="*/ 2877195 h 10883213"/>
                <a:gd name="connsiteX7" fmla="*/ 11171907 w 19347121"/>
                <a:gd name="connsiteY7" fmla="*/ 3332440 h 10883213"/>
                <a:gd name="connsiteX8" fmla="*/ 8928594 w 19347121"/>
                <a:gd name="connsiteY8" fmla="*/ 4591058 h 10883213"/>
                <a:gd name="connsiteX9" fmla="*/ 9796618 w 19347121"/>
                <a:gd name="connsiteY9" fmla="*/ 5092773 h 10883213"/>
                <a:gd name="connsiteX10" fmla="*/ 11942258 w 19347121"/>
                <a:gd name="connsiteY10" fmla="*/ 5649619 h 10883213"/>
                <a:gd name="connsiteX11" fmla="*/ 15502572 w 19347121"/>
                <a:gd name="connsiteY11" fmla="*/ 6608941 h 10883213"/>
                <a:gd name="connsiteX12" fmla="*/ 18143663 w 19347121"/>
                <a:gd name="connsiteY12" fmla="*/ 8006968 h 10883213"/>
                <a:gd name="connsiteX13" fmla="*/ 18973090 w 19347121"/>
                <a:gd name="connsiteY13" fmla="*/ 9198638 h 10883213"/>
                <a:gd name="connsiteX14" fmla="*/ 19301553 w 19347121"/>
                <a:gd name="connsiteY14" fmla="*/ 10202066 h 10883213"/>
                <a:gd name="connsiteX15" fmla="*/ 19346967 w 19347121"/>
                <a:gd name="connsiteY15" fmla="*/ 10751044 h 10883213"/>
                <a:gd name="connsiteX16" fmla="*/ 19342072 w 19347121"/>
                <a:gd name="connsiteY16" fmla="*/ 10883213 h 10883213"/>
                <a:gd name="connsiteX17" fmla="*/ 15537906 w 19347121"/>
                <a:gd name="connsiteY17" fmla="*/ 10883213 h 10883213"/>
                <a:gd name="connsiteX18" fmla="*/ 15539836 w 19347121"/>
                <a:gd name="connsiteY18" fmla="*/ 10867146 h 10883213"/>
                <a:gd name="connsiteX19" fmla="*/ 15526990 w 19347121"/>
                <a:gd name="connsiteY19" fmla="*/ 9960267 h 10883213"/>
                <a:gd name="connsiteX20" fmla="*/ 15176472 w 19347121"/>
                <a:gd name="connsiteY20" fmla="*/ 8953688 h 10883213"/>
                <a:gd name="connsiteX21" fmla="*/ 14237558 w 19347121"/>
                <a:gd name="connsiteY21" fmla="*/ 8084155 h 10883213"/>
                <a:gd name="connsiteX22" fmla="*/ 11189236 w 19347121"/>
                <a:gd name="connsiteY22" fmla="*/ 7146887 h 10883213"/>
                <a:gd name="connsiteX23" fmla="*/ 7499742 w 19347121"/>
                <a:gd name="connsiteY23" fmla="*/ 6055245 h 10883213"/>
                <a:gd name="connsiteX24" fmla="*/ 6199282 w 19347121"/>
                <a:gd name="connsiteY24" fmla="*/ 5354262 h 10883213"/>
                <a:gd name="connsiteX25" fmla="*/ 5688078 w 19347121"/>
                <a:gd name="connsiteY25" fmla="*/ 4489455 h 10883213"/>
                <a:gd name="connsiteX26" fmla="*/ 6619904 w 19347121"/>
                <a:gd name="connsiteY26" fmla="*/ 3270218 h 10883213"/>
                <a:gd name="connsiteX27" fmla="*/ 8479616 w 19347121"/>
                <a:gd name="connsiteY27" fmla="*/ 2673202 h 10883213"/>
                <a:gd name="connsiteX28" fmla="*/ 10054976 w 19347121"/>
                <a:gd name="connsiteY28" fmla="*/ 1936777 h 10883213"/>
                <a:gd name="connsiteX29" fmla="*/ 9805282 w 19347121"/>
                <a:gd name="connsiteY29" fmla="*/ 1647720 h 10883213"/>
                <a:gd name="connsiteX30" fmla="*/ 9121575 w 19347121"/>
                <a:gd name="connsiteY30" fmla="*/ 1394106 h 10883213"/>
                <a:gd name="connsiteX31" fmla="*/ 7035011 w 19347121"/>
                <a:gd name="connsiteY31" fmla="*/ 1029438 h 10883213"/>
                <a:gd name="connsiteX32" fmla="*/ 4068618 w 19347121"/>
                <a:gd name="connsiteY32" fmla="*/ 777224 h 10883213"/>
                <a:gd name="connsiteX33" fmla="*/ 976442 w 19347121"/>
                <a:gd name="connsiteY33" fmla="*/ 744074 h 10883213"/>
                <a:gd name="connsiteX34" fmla="*/ 46 w 19347121"/>
                <a:gd name="connsiteY34" fmla="*/ 23188 h 10883213"/>
                <a:gd name="connsiteX0" fmla="*/ 550 w 19347625"/>
                <a:gd name="connsiteY0" fmla="*/ 23188 h 10883213"/>
                <a:gd name="connsiteX1" fmla="*/ 4802642 w 19347625"/>
                <a:gd name="connsiteY1" fmla="*/ -1 h 10883213"/>
                <a:gd name="connsiteX2" fmla="*/ 10148427 w 19347625"/>
                <a:gd name="connsiteY2" fmla="*/ 536387 h 10883213"/>
                <a:gd name="connsiteX3" fmla="*/ 12398041 w 19347625"/>
                <a:gd name="connsiteY3" fmla="*/ 1209803 h 10883213"/>
                <a:gd name="connsiteX4" fmla="*/ 13294421 w 19347625"/>
                <a:gd name="connsiteY4" fmla="*/ 2161248 h 10883213"/>
                <a:gd name="connsiteX5" fmla="*/ 13108528 w 19347625"/>
                <a:gd name="connsiteY5" fmla="*/ 2570024 h 10883213"/>
                <a:gd name="connsiteX6" fmla="*/ 12627256 w 19347625"/>
                <a:gd name="connsiteY6" fmla="*/ 2877195 h 10883213"/>
                <a:gd name="connsiteX7" fmla="*/ 11172411 w 19347625"/>
                <a:gd name="connsiteY7" fmla="*/ 3332440 h 10883213"/>
                <a:gd name="connsiteX8" fmla="*/ 8929098 w 19347625"/>
                <a:gd name="connsiteY8" fmla="*/ 4591058 h 10883213"/>
                <a:gd name="connsiteX9" fmla="*/ 9797122 w 19347625"/>
                <a:gd name="connsiteY9" fmla="*/ 5092773 h 10883213"/>
                <a:gd name="connsiteX10" fmla="*/ 11942762 w 19347625"/>
                <a:gd name="connsiteY10" fmla="*/ 5649619 h 10883213"/>
                <a:gd name="connsiteX11" fmla="*/ 15503076 w 19347625"/>
                <a:gd name="connsiteY11" fmla="*/ 6608941 h 10883213"/>
                <a:gd name="connsiteX12" fmla="*/ 18144167 w 19347625"/>
                <a:gd name="connsiteY12" fmla="*/ 8006968 h 10883213"/>
                <a:gd name="connsiteX13" fmla="*/ 18973594 w 19347625"/>
                <a:gd name="connsiteY13" fmla="*/ 9198638 h 10883213"/>
                <a:gd name="connsiteX14" fmla="*/ 19302057 w 19347625"/>
                <a:gd name="connsiteY14" fmla="*/ 10202066 h 10883213"/>
                <a:gd name="connsiteX15" fmla="*/ 19347471 w 19347625"/>
                <a:gd name="connsiteY15" fmla="*/ 10751044 h 10883213"/>
                <a:gd name="connsiteX16" fmla="*/ 19342576 w 19347625"/>
                <a:gd name="connsiteY16" fmla="*/ 10883213 h 10883213"/>
                <a:gd name="connsiteX17" fmla="*/ 15538410 w 19347625"/>
                <a:gd name="connsiteY17" fmla="*/ 10883213 h 10883213"/>
                <a:gd name="connsiteX18" fmla="*/ 15540340 w 19347625"/>
                <a:gd name="connsiteY18" fmla="*/ 10867146 h 10883213"/>
                <a:gd name="connsiteX19" fmla="*/ 15527494 w 19347625"/>
                <a:gd name="connsiteY19" fmla="*/ 9960267 h 10883213"/>
                <a:gd name="connsiteX20" fmla="*/ 15176976 w 19347625"/>
                <a:gd name="connsiteY20" fmla="*/ 8953688 h 10883213"/>
                <a:gd name="connsiteX21" fmla="*/ 14238062 w 19347625"/>
                <a:gd name="connsiteY21" fmla="*/ 8084155 h 10883213"/>
                <a:gd name="connsiteX22" fmla="*/ 11189740 w 19347625"/>
                <a:gd name="connsiteY22" fmla="*/ 7146887 h 10883213"/>
                <a:gd name="connsiteX23" fmla="*/ 7500246 w 19347625"/>
                <a:gd name="connsiteY23" fmla="*/ 6055245 h 10883213"/>
                <a:gd name="connsiteX24" fmla="*/ 6199786 w 19347625"/>
                <a:gd name="connsiteY24" fmla="*/ 5354262 h 10883213"/>
                <a:gd name="connsiteX25" fmla="*/ 5688582 w 19347625"/>
                <a:gd name="connsiteY25" fmla="*/ 4489455 h 10883213"/>
                <a:gd name="connsiteX26" fmla="*/ 6620408 w 19347625"/>
                <a:gd name="connsiteY26" fmla="*/ 3270218 h 10883213"/>
                <a:gd name="connsiteX27" fmla="*/ 8480120 w 19347625"/>
                <a:gd name="connsiteY27" fmla="*/ 2673202 h 10883213"/>
                <a:gd name="connsiteX28" fmla="*/ 10055480 w 19347625"/>
                <a:gd name="connsiteY28" fmla="*/ 1936777 h 10883213"/>
                <a:gd name="connsiteX29" fmla="*/ 9805786 w 19347625"/>
                <a:gd name="connsiteY29" fmla="*/ 1647720 h 10883213"/>
                <a:gd name="connsiteX30" fmla="*/ 9122079 w 19347625"/>
                <a:gd name="connsiteY30" fmla="*/ 1394106 h 10883213"/>
                <a:gd name="connsiteX31" fmla="*/ 7035515 w 19347625"/>
                <a:gd name="connsiteY31" fmla="*/ 1029438 h 10883213"/>
                <a:gd name="connsiteX32" fmla="*/ 4069122 w 19347625"/>
                <a:gd name="connsiteY32" fmla="*/ 777224 h 10883213"/>
                <a:gd name="connsiteX33" fmla="*/ 551 w 19347625"/>
                <a:gd name="connsiteY33" fmla="*/ 752081 h 10883213"/>
                <a:gd name="connsiteX34" fmla="*/ 550 w 19347625"/>
                <a:gd name="connsiteY34" fmla="*/ 23188 h 10883213"/>
                <a:gd name="connsiteX0" fmla="*/ 2527 w 19349602"/>
                <a:gd name="connsiteY0" fmla="*/ 23188 h 10883213"/>
                <a:gd name="connsiteX1" fmla="*/ 4804619 w 19349602"/>
                <a:gd name="connsiteY1" fmla="*/ -1 h 10883213"/>
                <a:gd name="connsiteX2" fmla="*/ 10150404 w 19349602"/>
                <a:gd name="connsiteY2" fmla="*/ 536387 h 10883213"/>
                <a:gd name="connsiteX3" fmla="*/ 12400018 w 19349602"/>
                <a:gd name="connsiteY3" fmla="*/ 1209803 h 10883213"/>
                <a:gd name="connsiteX4" fmla="*/ 13296398 w 19349602"/>
                <a:gd name="connsiteY4" fmla="*/ 2161248 h 10883213"/>
                <a:gd name="connsiteX5" fmla="*/ 13110505 w 19349602"/>
                <a:gd name="connsiteY5" fmla="*/ 2570024 h 10883213"/>
                <a:gd name="connsiteX6" fmla="*/ 12629233 w 19349602"/>
                <a:gd name="connsiteY6" fmla="*/ 2877195 h 10883213"/>
                <a:gd name="connsiteX7" fmla="*/ 11174388 w 19349602"/>
                <a:gd name="connsiteY7" fmla="*/ 3332440 h 10883213"/>
                <a:gd name="connsiteX8" fmla="*/ 8931075 w 19349602"/>
                <a:gd name="connsiteY8" fmla="*/ 4591058 h 10883213"/>
                <a:gd name="connsiteX9" fmla="*/ 9799099 w 19349602"/>
                <a:gd name="connsiteY9" fmla="*/ 5092773 h 10883213"/>
                <a:gd name="connsiteX10" fmla="*/ 11944739 w 19349602"/>
                <a:gd name="connsiteY10" fmla="*/ 5649619 h 10883213"/>
                <a:gd name="connsiteX11" fmla="*/ 15505053 w 19349602"/>
                <a:gd name="connsiteY11" fmla="*/ 6608941 h 10883213"/>
                <a:gd name="connsiteX12" fmla="*/ 18146144 w 19349602"/>
                <a:gd name="connsiteY12" fmla="*/ 8006968 h 10883213"/>
                <a:gd name="connsiteX13" fmla="*/ 18975571 w 19349602"/>
                <a:gd name="connsiteY13" fmla="*/ 9198638 h 10883213"/>
                <a:gd name="connsiteX14" fmla="*/ 19304034 w 19349602"/>
                <a:gd name="connsiteY14" fmla="*/ 10202066 h 10883213"/>
                <a:gd name="connsiteX15" fmla="*/ 19349448 w 19349602"/>
                <a:gd name="connsiteY15" fmla="*/ 10751044 h 10883213"/>
                <a:gd name="connsiteX16" fmla="*/ 19344553 w 19349602"/>
                <a:gd name="connsiteY16" fmla="*/ 10883213 h 10883213"/>
                <a:gd name="connsiteX17" fmla="*/ 15540387 w 19349602"/>
                <a:gd name="connsiteY17" fmla="*/ 10883213 h 10883213"/>
                <a:gd name="connsiteX18" fmla="*/ 15542317 w 19349602"/>
                <a:gd name="connsiteY18" fmla="*/ 10867146 h 10883213"/>
                <a:gd name="connsiteX19" fmla="*/ 15529471 w 19349602"/>
                <a:gd name="connsiteY19" fmla="*/ 9960267 h 10883213"/>
                <a:gd name="connsiteX20" fmla="*/ 15178953 w 19349602"/>
                <a:gd name="connsiteY20" fmla="*/ 8953688 h 10883213"/>
                <a:gd name="connsiteX21" fmla="*/ 14240039 w 19349602"/>
                <a:gd name="connsiteY21" fmla="*/ 8084155 h 10883213"/>
                <a:gd name="connsiteX22" fmla="*/ 11191717 w 19349602"/>
                <a:gd name="connsiteY22" fmla="*/ 7146887 h 10883213"/>
                <a:gd name="connsiteX23" fmla="*/ 7502223 w 19349602"/>
                <a:gd name="connsiteY23" fmla="*/ 6055245 h 10883213"/>
                <a:gd name="connsiteX24" fmla="*/ 6201763 w 19349602"/>
                <a:gd name="connsiteY24" fmla="*/ 5354262 h 10883213"/>
                <a:gd name="connsiteX25" fmla="*/ 5690559 w 19349602"/>
                <a:gd name="connsiteY25" fmla="*/ 4489455 h 10883213"/>
                <a:gd name="connsiteX26" fmla="*/ 6622385 w 19349602"/>
                <a:gd name="connsiteY26" fmla="*/ 3270218 h 10883213"/>
                <a:gd name="connsiteX27" fmla="*/ 8482097 w 19349602"/>
                <a:gd name="connsiteY27" fmla="*/ 2673202 h 10883213"/>
                <a:gd name="connsiteX28" fmla="*/ 10057457 w 19349602"/>
                <a:gd name="connsiteY28" fmla="*/ 1936777 h 10883213"/>
                <a:gd name="connsiteX29" fmla="*/ 9807763 w 19349602"/>
                <a:gd name="connsiteY29" fmla="*/ 1647720 h 10883213"/>
                <a:gd name="connsiteX30" fmla="*/ 9124056 w 19349602"/>
                <a:gd name="connsiteY30" fmla="*/ 1394106 h 10883213"/>
                <a:gd name="connsiteX31" fmla="*/ 7037492 w 19349602"/>
                <a:gd name="connsiteY31" fmla="*/ 1029438 h 10883213"/>
                <a:gd name="connsiteX32" fmla="*/ 4071099 w 19349602"/>
                <a:gd name="connsiteY32" fmla="*/ 777224 h 10883213"/>
                <a:gd name="connsiteX33" fmla="*/ 2528 w 19349602"/>
                <a:gd name="connsiteY33" fmla="*/ 752081 h 10883213"/>
                <a:gd name="connsiteX34" fmla="*/ 2527 w 19349602"/>
                <a:gd name="connsiteY34" fmla="*/ 23188 h 1088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349602" h="10883213">
                  <a:moveTo>
                    <a:pt x="2527" y="23188"/>
                  </a:moveTo>
                  <a:lnTo>
                    <a:pt x="4804619" y="-1"/>
                  </a:lnTo>
                  <a:cubicBezTo>
                    <a:pt x="6696808" y="43718"/>
                    <a:pt x="8645836" y="237288"/>
                    <a:pt x="10150404" y="536387"/>
                  </a:cubicBezTo>
                  <a:cubicBezTo>
                    <a:pt x="11112162" y="726991"/>
                    <a:pt x="11868334" y="953826"/>
                    <a:pt x="12400018" y="1209803"/>
                  </a:cubicBezTo>
                  <a:cubicBezTo>
                    <a:pt x="12995504" y="1496497"/>
                    <a:pt x="13296398" y="1816271"/>
                    <a:pt x="13296398" y="2161248"/>
                  </a:cubicBezTo>
                  <a:cubicBezTo>
                    <a:pt x="13296398" y="2309321"/>
                    <a:pt x="13234171" y="2447155"/>
                    <a:pt x="13110505" y="2570024"/>
                  </a:cubicBezTo>
                  <a:cubicBezTo>
                    <a:pt x="13001018" y="2679503"/>
                    <a:pt x="12843482" y="2780318"/>
                    <a:pt x="12629233" y="2877195"/>
                  </a:cubicBezTo>
                  <a:cubicBezTo>
                    <a:pt x="12234605" y="3055198"/>
                    <a:pt x="11696620" y="3196182"/>
                    <a:pt x="11174388" y="3332440"/>
                  </a:cubicBezTo>
                  <a:cubicBezTo>
                    <a:pt x="10071636" y="3621497"/>
                    <a:pt x="8931075" y="3918431"/>
                    <a:pt x="8931075" y="4591058"/>
                  </a:cubicBezTo>
                  <a:cubicBezTo>
                    <a:pt x="8931075" y="4741493"/>
                    <a:pt x="9214640" y="4905319"/>
                    <a:pt x="9799099" y="5092773"/>
                  </a:cubicBezTo>
                  <a:cubicBezTo>
                    <a:pt x="10344961" y="5266836"/>
                    <a:pt x="11086168" y="5444839"/>
                    <a:pt x="11944739" y="5649619"/>
                  </a:cubicBezTo>
                  <a:cubicBezTo>
                    <a:pt x="13081361" y="5920561"/>
                    <a:pt x="14369218" y="6229309"/>
                    <a:pt x="15505053" y="6608941"/>
                  </a:cubicBezTo>
                  <a:cubicBezTo>
                    <a:pt x="16819691" y="7050009"/>
                    <a:pt x="17683776" y="7506829"/>
                    <a:pt x="18146144" y="8006968"/>
                  </a:cubicBezTo>
                  <a:cubicBezTo>
                    <a:pt x="18496662" y="8385813"/>
                    <a:pt x="18775501" y="8786712"/>
                    <a:pt x="18975571" y="9198638"/>
                  </a:cubicBezTo>
                  <a:cubicBezTo>
                    <a:pt x="19136258" y="9527863"/>
                    <a:pt x="19246533" y="9865753"/>
                    <a:pt x="19304034" y="10202066"/>
                  </a:cubicBezTo>
                  <a:cubicBezTo>
                    <a:pt x="19340661" y="10416791"/>
                    <a:pt x="19351036" y="10602276"/>
                    <a:pt x="19349448" y="10751044"/>
                  </a:cubicBezTo>
                  <a:lnTo>
                    <a:pt x="19344553" y="10883213"/>
                  </a:lnTo>
                  <a:lnTo>
                    <a:pt x="15540387" y="10883213"/>
                  </a:lnTo>
                  <a:lnTo>
                    <a:pt x="15542317" y="10867146"/>
                  </a:lnTo>
                  <a:cubicBezTo>
                    <a:pt x="15566384" y="10648774"/>
                    <a:pt x="15582196" y="10321342"/>
                    <a:pt x="15529471" y="9960267"/>
                  </a:cubicBezTo>
                  <a:cubicBezTo>
                    <a:pt x="15473546" y="9584572"/>
                    <a:pt x="15356181" y="9245108"/>
                    <a:pt x="15178953" y="8953688"/>
                  </a:cubicBezTo>
                  <a:cubicBezTo>
                    <a:pt x="14956827" y="8589020"/>
                    <a:pt x="14640968" y="8296813"/>
                    <a:pt x="14240039" y="8084155"/>
                  </a:cubicBezTo>
                  <a:cubicBezTo>
                    <a:pt x="13642977" y="7768319"/>
                    <a:pt x="12451217" y="7466661"/>
                    <a:pt x="11191717" y="7146887"/>
                  </a:cubicBezTo>
                  <a:cubicBezTo>
                    <a:pt x="9958210" y="6833413"/>
                    <a:pt x="8560078" y="6478984"/>
                    <a:pt x="7502223" y="6055245"/>
                  </a:cubicBezTo>
                  <a:cubicBezTo>
                    <a:pt x="6926429" y="5824471"/>
                    <a:pt x="6501082" y="5595274"/>
                    <a:pt x="6201763" y="5354262"/>
                  </a:cubicBezTo>
                  <a:cubicBezTo>
                    <a:pt x="5862273" y="5080958"/>
                    <a:pt x="5690559" y="4789538"/>
                    <a:pt x="5690559" y="4489455"/>
                  </a:cubicBezTo>
                  <a:cubicBezTo>
                    <a:pt x="5690559" y="3985378"/>
                    <a:pt x="5995391" y="3586842"/>
                    <a:pt x="6622385" y="3270218"/>
                  </a:cubicBezTo>
                  <a:cubicBezTo>
                    <a:pt x="7161945" y="2997701"/>
                    <a:pt x="7862981" y="2825212"/>
                    <a:pt x="8482097" y="2673202"/>
                  </a:cubicBezTo>
                  <a:cubicBezTo>
                    <a:pt x="9327278" y="2465270"/>
                    <a:pt x="10057457" y="2285692"/>
                    <a:pt x="10057457" y="1936777"/>
                  </a:cubicBezTo>
                  <a:cubicBezTo>
                    <a:pt x="10057457" y="1838324"/>
                    <a:pt x="9973176" y="1741447"/>
                    <a:pt x="9807763" y="1647720"/>
                  </a:cubicBezTo>
                  <a:cubicBezTo>
                    <a:pt x="9651802" y="1560294"/>
                    <a:pt x="9421800" y="1474443"/>
                    <a:pt x="9124056" y="1394106"/>
                  </a:cubicBezTo>
                  <a:cubicBezTo>
                    <a:pt x="8620729" y="1259423"/>
                    <a:pt x="7918906" y="1135767"/>
                    <a:pt x="7037492" y="1029438"/>
                  </a:cubicBezTo>
                  <a:cubicBezTo>
                    <a:pt x="5722460" y="870240"/>
                    <a:pt x="4392954" y="794259"/>
                    <a:pt x="4071099" y="777224"/>
                  </a:cubicBezTo>
                  <a:lnTo>
                    <a:pt x="2528" y="752081"/>
                  </a:lnTo>
                  <a:cubicBezTo>
                    <a:pt x="8951" y="279544"/>
                    <a:pt x="-5570" y="37774"/>
                    <a:pt x="2527" y="23188"/>
                  </a:cubicBezTo>
                  <a:close/>
                </a:path>
              </a:pathLst>
            </a:custGeom>
            <a:solidFill>
              <a:srgbClr val="4472C4">
                <a:lumMod val="50000"/>
              </a:srgbClr>
            </a:solidFill>
            <a:ln>
              <a:noFill/>
            </a:ln>
            <a:effectLst/>
          </p:spPr>
          <p:txBody>
            <a:bodyPr wrap="square" anchor="ctr">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48" name="Freeform 3">
              <a:extLst>
                <a:ext uri="{FF2B5EF4-FFF2-40B4-BE49-F238E27FC236}">
                  <a16:creationId xmlns:a16="http://schemas.microsoft.com/office/drawing/2014/main" id="{5754EBFF-650C-44F4-902F-A03B566ED0BB}"/>
                </a:ext>
              </a:extLst>
            </p:cNvPr>
            <p:cNvSpPr>
              <a:spLocks noChangeArrowheads="1"/>
            </p:cNvSpPr>
            <p:nvPr/>
          </p:nvSpPr>
          <p:spPr bwMode="auto">
            <a:xfrm>
              <a:off x="2871618" y="1856280"/>
              <a:ext cx="7673500" cy="4377961"/>
            </a:xfrm>
            <a:custGeom>
              <a:avLst/>
              <a:gdLst>
                <a:gd name="T0" fmla="*/ 0 w 17184"/>
                <a:gd name="T1" fmla="*/ 0 h 13694"/>
                <a:gd name="T2" fmla="*/ 0 w 17184"/>
                <a:gd name="T3" fmla="*/ 0 h 13694"/>
                <a:gd name="T4" fmla="*/ 9269 w 17184"/>
                <a:gd name="T5" fmla="*/ 1455 h 13694"/>
                <a:gd name="T6" fmla="*/ 9269 w 17184"/>
                <a:gd name="T7" fmla="*/ 1455 h 13694"/>
                <a:gd name="T8" fmla="*/ 4878 w 17184"/>
                <a:gd name="T9" fmla="*/ 4361 h 13694"/>
                <a:gd name="T10" fmla="*/ 4878 w 17184"/>
                <a:gd name="T11" fmla="*/ 4361 h 13694"/>
                <a:gd name="T12" fmla="*/ 10208 w 17184"/>
                <a:gd name="T13" fmla="*/ 7887 h 13694"/>
                <a:gd name="T14" fmla="*/ 10208 w 17184"/>
                <a:gd name="T15" fmla="*/ 7887 h 13694"/>
                <a:gd name="T16" fmla="*/ 17183 w 17184"/>
                <a:gd name="T17" fmla="*/ 13693 h 13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84" h="13694">
                  <a:moveTo>
                    <a:pt x="0" y="0"/>
                  </a:moveTo>
                  <a:lnTo>
                    <a:pt x="0" y="0"/>
                  </a:lnTo>
                  <a:cubicBezTo>
                    <a:pt x="0" y="0"/>
                    <a:pt x="7668" y="142"/>
                    <a:pt x="9269" y="1455"/>
                  </a:cubicBezTo>
                  <a:lnTo>
                    <a:pt x="9269" y="1455"/>
                  </a:lnTo>
                  <a:cubicBezTo>
                    <a:pt x="10869" y="2767"/>
                    <a:pt x="6836" y="3122"/>
                    <a:pt x="4878" y="4361"/>
                  </a:cubicBezTo>
                  <a:lnTo>
                    <a:pt x="4878" y="4361"/>
                  </a:lnTo>
                  <a:cubicBezTo>
                    <a:pt x="3289" y="5366"/>
                    <a:pt x="4340" y="6434"/>
                    <a:pt x="10208" y="7887"/>
                  </a:cubicBezTo>
                  <a:lnTo>
                    <a:pt x="10208" y="7887"/>
                  </a:lnTo>
                  <a:cubicBezTo>
                    <a:pt x="16698" y="9494"/>
                    <a:pt x="17183" y="11176"/>
                    <a:pt x="17183" y="13693"/>
                  </a:cubicBezTo>
                </a:path>
              </a:pathLst>
            </a:custGeom>
            <a:noFill/>
            <a:ln w="38100" cap="flat">
              <a:solidFill>
                <a:srgbClr val="FFFFFF"/>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cxnSp>
          <p:nvCxnSpPr>
            <p:cNvPr id="49" name="Straight Connector 48">
              <a:extLst>
                <a:ext uri="{FF2B5EF4-FFF2-40B4-BE49-F238E27FC236}">
                  <a16:creationId xmlns:a16="http://schemas.microsoft.com/office/drawing/2014/main" id="{2DA62D0D-AA6F-4A6F-B6C4-30C63B2264DA}"/>
                </a:ext>
              </a:extLst>
            </p:cNvPr>
            <p:cNvCxnSpPr>
              <a:cxnSpLocks/>
            </p:cNvCxnSpPr>
            <p:nvPr/>
          </p:nvCxnSpPr>
          <p:spPr>
            <a:xfrm flipH="1">
              <a:off x="605928" y="1857378"/>
              <a:ext cx="2148463" cy="311"/>
            </a:xfrm>
            <a:prstGeom prst="line">
              <a:avLst/>
            </a:prstGeom>
            <a:noFill/>
            <a:ln w="38100" cap="flat" cmpd="sng" algn="ctr">
              <a:solidFill>
                <a:schemeClr val="bg2"/>
              </a:solidFill>
              <a:prstDash val="dash"/>
              <a:miter lim="800000"/>
            </a:ln>
            <a:effectLst/>
          </p:spPr>
        </p:cxnSp>
        <p:sp>
          <p:nvSpPr>
            <p:cNvPr id="50" name="Left-Right Arrow 158">
              <a:extLst>
                <a:ext uri="{FF2B5EF4-FFF2-40B4-BE49-F238E27FC236}">
                  <a16:creationId xmlns:a16="http://schemas.microsoft.com/office/drawing/2014/main" id="{989AB0FD-5E8C-4342-9D90-7BED1072A20E}"/>
                </a:ext>
              </a:extLst>
            </p:cNvPr>
            <p:cNvSpPr/>
            <p:nvPr/>
          </p:nvSpPr>
          <p:spPr>
            <a:xfrm>
              <a:off x="2002874" y="1004811"/>
              <a:ext cx="1479838" cy="441779"/>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a:ln>
                    <a:noFill/>
                  </a:ln>
                  <a:solidFill>
                    <a:prstClr val="black"/>
                  </a:solidFill>
                  <a:effectLst/>
                  <a:uLnTx/>
                  <a:uFillTx/>
                  <a:latin typeface="Calibri" panose="020F0502020204030204"/>
                  <a:ea typeface="+mn-ea"/>
                  <a:cs typeface="+mn-cs"/>
                </a:rPr>
                <a:t>Regular guiding coalition meeting</a:t>
              </a:r>
              <a:endParaRPr kumimoji="0" lang="en-US" sz="119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Left-Right Arrow 162">
              <a:extLst>
                <a:ext uri="{FF2B5EF4-FFF2-40B4-BE49-F238E27FC236}">
                  <a16:creationId xmlns:a16="http://schemas.microsoft.com/office/drawing/2014/main" id="{46991A26-2082-4EB6-AFB9-65D37DBCF43F}"/>
                </a:ext>
              </a:extLst>
            </p:cNvPr>
            <p:cNvSpPr/>
            <p:nvPr/>
          </p:nvSpPr>
          <p:spPr>
            <a:xfrm>
              <a:off x="5572468" y="810614"/>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noProof="0">
                  <a:ln>
                    <a:noFill/>
                  </a:ln>
                  <a:solidFill>
                    <a:prstClr val="black"/>
                  </a:solidFill>
                  <a:effectLst/>
                  <a:uLnTx/>
                  <a:uFillTx/>
                  <a:latin typeface="Calibri" panose="020F0502020204030204"/>
                  <a:ea typeface="+mn-ea"/>
                  <a:cs typeface="+mn-cs"/>
                </a:rPr>
                <a:t>Data Strategy Objective 1 activated on a roadmap</a:t>
              </a:r>
              <a:endParaRPr kumimoji="0" lang="en-US" sz="1198"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Left-Right Arrow 171">
              <a:extLst>
                <a:ext uri="{FF2B5EF4-FFF2-40B4-BE49-F238E27FC236}">
                  <a16:creationId xmlns:a16="http://schemas.microsoft.com/office/drawing/2014/main" id="{185C0E8A-FB06-48DB-98A8-56F3EA3DF891}"/>
                </a:ext>
              </a:extLst>
            </p:cNvPr>
            <p:cNvSpPr/>
            <p:nvPr/>
          </p:nvSpPr>
          <p:spPr>
            <a:xfrm>
              <a:off x="2878960" y="2599961"/>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noProof="0">
                  <a:ln>
                    <a:noFill/>
                  </a:ln>
                  <a:solidFill>
                    <a:prstClr val="black"/>
                  </a:solidFill>
                  <a:effectLst/>
                  <a:uLnTx/>
                  <a:uFillTx/>
                  <a:latin typeface="Calibri" panose="020F0502020204030204"/>
                  <a:ea typeface="+mn-ea"/>
                  <a:cs typeface="+mn-cs"/>
                </a:rPr>
                <a:t>Develop Charter, assign ownership and stewardship</a:t>
              </a:r>
              <a:endParaRPr kumimoji="0" lang="en-US" sz="1198"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Left-Right Arrow 175">
              <a:extLst>
                <a:ext uri="{FF2B5EF4-FFF2-40B4-BE49-F238E27FC236}">
                  <a16:creationId xmlns:a16="http://schemas.microsoft.com/office/drawing/2014/main" id="{1559C6E4-B27F-4FC8-812D-46C8BBB666BA}"/>
                </a:ext>
              </a:extLst>
            </p:cNvPr>
            <p:cNvSpPr/>
            <p:nvPr/>
          </p:nvSpPr>
          <p:spPr>
            <a:xfrm>
              <a:off x="7607742" y="3213074"/>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noProof="0">
                  <a:ln>
                    <a:noFill/>
                  </a:ln>
                  <a:solidFill>
                    <a:prstClr val="black"/>
                  </a:solidFill>
                  <a:effectLst/>
                  <a:uLnTx/>
                  <a:uFillTx/>
                  <a:latin typeface="Calibri" panose="020F0502020204030204"/>
                  <a:ea typeface="+mn-ea"/>
                  <a:cs typeface="+mn-cs"/>
                </a:rPr>
                <a:t>Formal Launch of Data Governance by mid October</a:t>
              </a:r>
              <a:endParaRPr kumimoji="0" lang="en-US" sz="1198"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Left-Right Arrow 179">
              <a:extLst>
                <a:ext uri="{FF2B5EF4-FFF2-40B4-BE49-F238E27FC236}">
                  <a16:creationId xmlns:a16="http://schemas.microsoft.com/office/drawing/2014/main" id="{659CAB1B-84BF-418B-9354-C923ECD1E5BD}"/>
                </a:ext>
              </a:extLst>
            </p:cNvPr>
            <p:cNvSpPr/>
            <p:nvPr/>
          </p:nvSpPr>
          <p:spPr>
            <a:xfrm>
              <a:off x="9546137" y="3878059"/>
              <a:ext cx="1919189" cy="625740"/>
            </a:xfrm>
            <a:prstGeom prst="leftRightArrow">
              <a:avLst>
                <a:gd name="adj1" fmla="val 100000"/>
                <a:gd name="adj2" fmla="val 0"/>
              </a:avLst>
            </a:prstGeom>
            <a:noFill/>
            <a:ln w="9525" cap="flat" cmpd="sng" algn="ctr">
              <a:noFill/>
              <a:prstDash val="solid"/>
              <a:miter lim="800000"/>
            </a:ln>
            <a:effectLst/>
          </p:spPr>
          <p:txBody>
            <a:bodyPr wrap="square"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noProof="0">
                  <a:ln>
                    <a:noFill/>
                  </a:ln>
                  <a:solidFill>
                    <a:prstClr val="black"/>
                  </a:solidFill>
                  <a:effectLst/>
                  <a:uLnTx/>
                  <a:uFillTx/>
                  <a:latin typeface="Calibri" panose="020F0502020204030204"/>
                  <a:ea typeface="+mn-ea"/>
                  <a:cs typeface="+mn-cs"/>
                </a:rPr>
                <a:t> Enterprise wide data scoping exercise to identify critical data elements </a:t>
              </a:r>
              <a:endParaRPr kumimoji="0" lang="en-US" sz="119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71">
              <a:extLst>
                <a:ext uri="{FF2B5EF4-FFF2-40B4-BE49-F238E27FC236}">
                  <a16:creationId xmlns:a16="http://schemas.microsoft.com/office/drawing/2014/main" id="{D3CDBA33-54CF-41DC-92C9-E7782CE267CF}"/>
                </a:ext>
              </a:extLst>
            </p:cNvPr>
            <p:cNvGrpSpPr>
              <a:grpSpLocks noChangeAspect="1"/>
            </p:cNvGrpSpPr>
            <p:nvPr/>
          </p:nvGrpSpPr>
          <p:grpSpPr bwMode="auto">
            <a:xfrm>
              <a:off x="3375261" y="1005221"/>
              <a:ext cx="637257" cy="440959"/>
              <a:chOff x="3091" y="1986"/>
              <a:chExt cx="896" cy="620"/>
            </a:xfrm>
            <a:solidFill>
              <a:srgbClr val="4472C4"/>
            </a:solidFill>
          </p:grpSpPr>
          <p:sp>
            <p:nvSpPr>
              <p:cNvPr id="159" name="Freeform 72">
                <a:extLst>
                  <a:ext uri="{FF2B5EF4-FFF2-40B4-BE49-F238E27FC236}">
                    <a16:creationId xmlns:a16="http://schemas.microsoft.com/office/drawing/2014/main" id="{91A02C2F-8D83-46F6-9F65-8AD1289619A3}"/>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0" name="Freeform 73">
                <a:extLst>
                  <a:ext uri="{FF2B5EF4-FFF2-40B4-BE49-F238E27FC236}">
                    <a16:creationId xmlns:a16="http://schemas.microsoft.com/office/drawing/2014/main" id="{420C462E-9F17-405B-9DA9-F6EF0A643E5A}"/>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1" name="Freeform 74">
                <a:extLst>
                  <a:ext uri="{FF2B5EF4-FFF2-40B4-BE49-F238E27FC236}">
                    <a16:creationId xmlns:a16="http://schemas.microsoft.com/office/drawing/2014/main" id="{3EF297F1-C2E7-4751-B71C-9ACE44099CB1}"/>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2" name="Rectangle 75">
                <a:extLst>
                  <a:ext uri="{FF2B5EF4-FFF2-40B4-BE49-F238E27FC236}">
                    <a16:creationId xmlns:a16="http://schemas.microsoft.com/office/drawing/2014/main" id="{DF879958-563E-4307-9EFC-0EA39FED0AA1}"/>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3" name="Line 76">
                <a:extLst>
                  <a:ext uri="{FF2B5EF4-FFF2-40B4-BE49-F238E27FC236}">
                    <a16:creationId xmlns:a16="http://schemas.microsoft.com/office/drawing/2014/main" id="{93E1FB2F-7619-4087-8EF0-B3EC1693A1A1}"/>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4" name="Line 77">
                <a:extLst>
                  <a:ext uri="{FF2B5EF4-FFF2-40B4-BE49-F238E27FC236}">
                    <a16:creationId xmlns:a16="http://schemas.microsoft.com/office/drawing/2014/main" id="{B1618395-CB25-41B6-82BE-92F13F2D9892}"/>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5" name="Freeform 78">
                <a:extLst>
                  <a:ext uri="{FF2B5EF4-FFF2-40B4-BE49-F238E27FC236}">
                    <a16:creationId xmlns:a16="http://schemas.microsoft.com/office/drawing/2014/main" id="{0E70BFBA-505D-46B5-A941-218A065EAD96}"/>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6" name="Freeform 79">
                <a:extLst>
                  <a:ext uri="{FF2B5EF4-FFF2-40B4-BE49-F238E27FC236}">
                    <a16:creationId xmlns:a16="http://schemas.microsoft.com/office/drawing/2014/main" id="{0AF27CE7-35AB-4907-9F4D-878AC471128A}"/>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7" name="Freeform 80">
                <a:extLst>
                  <a:ext uri="{FF2B5EF4-FFF2-40B4-BE49-F238E27FC236}">
                    <a16:creationId xmlns:a16="http://schemas.microsoft.com/office/drawing/2014/main" id="{763ED000-1A2E-4A2F-B200-1001F00B83EB}"/>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8" name="Freeform 81">
                <a:extLst>
                  <a:ext uri="{FF2B5EF4-FFF2-40B4-BE49-F238E27FC236}">
                    <a16:creationId xmlns:a16="http://schemas.microsoft.com/office/drawing/2014/main" id="{45538CC2-654B-463C-9733-66A8BF5FCF0C}"/>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9" name="Rectangle 82">
                <a:extLst>
                  <a:ext uri="{FF2B5EF4-FFF2-40B4-BE49-F238E27FC236}">
                    <a16:creationId xmlns:a16="http://schemas.microsoft.com/office/drawing/2014/main" id="{BE9A7E15-49C3-4F52-ABAB-A7ADC34F7276}"/>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0" name="Rectangle 83">
                <a:extLst>
                  <a:ext uri="{FF2B5EF4-FFF2-40B4-BE49-F238E27FC236}">
                    <a16:creationId xmlns:a16="http://schemas.microsoft.com/office/drawing/2014/main" id="{9FE47C27-68AC-4DEF-90E3-4325F0756BBC}"/>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1" name="Freeform 84">
                <a:extLst>
                  <a:ext uri="{FF2B5EF4-FFF2-40B4-BE49-F238E27FC236}">
                    <a16:creationId xmlns:a16="http://schemas.microsoft.com/office/drawing/2014/main" id="{111F91D9-87D2-43AB-A76B-0B5FC84F1CA9}"/>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2" name="Rectangle 85">
                <a:extLst>
                  <a:ext uri="{FF2B5EF4-FFF2-40B4-BE49-F238E27FC236}">
                    <a16:creationId xmlns:a16="http://schemas.microsoft.com/office/drawing/2014/main" id="{F3C934CB-1C98-42BE-BF3F-069B55EB4B80}"/>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3" name="Rectangle 86">
                <a:extLst>
                  <a:ext uri="{FF2B5EF4-FFF2-40B4-BE49-F238E27FC236}">
                    <a16:creationId xmlns:a16="http://schemas.microsoft.com/office/drawing/2014/main" id="{5A798CCA-11B6-4572-9AEB-6BB2F89482CB}"/>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id="{6E4E49C9-E223-4E2C-9174-59FF70CE5F79}"/>
                </a:ext>
              </a:extLst>
            </p:cNvPr>
            <p:cNvGrpSpPr/>
            <p:nvPr>
              <p:custDataLst>
                <p:tags r:id="rId2"/>
              </p:custDataLst>
            </p:nvPr>
          </p:nvGrpSpPr>
          <p:grpSpPr>
            <a:xfrm>
              <a:off x="6989465" y="859539"/>
              <a:ext cx="461102" cy="527891"/>
              <a:chOff x="3514633" y="1561908"/>
              <a:chExt cx="2867674" cy="3724368"/>
            </a:xfrm>
            <a:solidFill>
              <a:srgbClr val="4472C4"/>
            </a:solidFill>
          </p:grpSpPr>
          <p:sp>
            <p:nvSpPr>
              <p:cNvPr id="139" name="Freeform: Shape 138">
                <a:extLst>
                  <a:ext uri="{FF2B5EF4-FFF2-40B4-BE49-F238E27FC236}">
                    <a16:creationId xmlns:a16="http://schemas.microsoft.com/office/drawing/2014/main" id="{8D6548CC-6CA9-45F9-A752-C20801F61BB1}"/>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D9568072-3AE0-4959-B861-5525FCF8EAC6}"/>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5ACDF58D-81A1-47BB-ADA8-439E1E163920}"/>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1BC17B79-DA0A-42B6-9304-2D5623509B66}"/>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486CC963-A695-4BCF-BF84-8451BF25FD74}"/>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FC09652A-FD32-4C51-9F40-F631030E1E83}"/>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7133B31B-9BB2-4398-9E28-F242B1D4EEFE}"/>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79C44FAA-104F-479F-A23F-73E8200B1476}"/>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F5F307B0-3C1B-44F5-890B-4AD72C474C02}"/>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DEA6C30A-7131-4B1E-8213-4297646322A2}"/>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DED2735B-ED1F-4E3D-AEE9-7CE99998A9A0}"/>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81917562-9CE9-4FD3-9C45-034552CF000A}"/>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34C12338-7144-432E-8C15-CCF289F908BC}"/>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5C42DD00-5F15-44D9-89F5-AD6618FB625A}"/>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156A32BB-41F1-4750-82A4-9CD725DA26CB}"/>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2121963A-712E-4228-BB44-E1620BA975F0}"/>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E7BEF0EB-5EF3-42C4-8E4E-34C71DF7EDE9}"/>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F252A3ED-F454-4D98-8ED3-4888674B8F59}"/>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AA5CF744-925B-4D3F-9485-9188832E94EE}"/>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744DF096-0506-4FB7-A71D-A1D7950723C7}"/>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22222"/>
                  </a:solidFill>
                  <a:effectLst/>
                  <a:uLnTx/>
                  <a:uFillTx/>
                  <a:latin typeface="Arial" panose="020B0604020202020204"/>
                  <a:ea typeface="+mn-ea"/>
                  <a:cs typeface="+mn-cs"/>
                </a:endParaRPr>
              </a:p>
            </p:txBody>
          </p:sp>
        </p:grpSp>
        <p:grpSp>
          <p:nvGrpSpPr>
            <p:cNvPr id="57" name="Group 56">
              <a:extLst>
                <a:ext uri="{FF2B5EF4-FFF2-40B4-BE49-F238E27FC236}">
                  <a16:creationId xmlns:a16="http://schemas.microsoft.com/office/drawing/2014/main" id="{7A464172-FDE8-4946-8C0C-2DA7FD65E28E}"/>
                </a:ext>
              </a:extLst>
            </p:cNvPr>
            <p:cNvGrpSpPr>
              <a:grpSpLocks noChangeAspect="1"/>
            </p:cNvGrpSpPr>
            <p:nvPr>
              <p:custDataLst>
                <p:tags r:id="rId3"/>
              </p:custDataLst>
            </p:nvPr>
          </p:nvGrpSpPr>
          <p:grpSpPr>
            <a:xfrm>
              <a:off x="11481572" y="3892411"/>
              <a:ext cx="383861" cy="597036"/>
              <a:chOff x="546712" y="4568541"/>
              <a:chExt cx="299108" cy="465217"/>
            </a:xfrm>
            <a:solidFill>
              <a:srgbClr val="4472C4"/>
            </a:solidFill>
          </p:grpSpPr>
          <p:sp>
            <p:nvSpPr>
              <p:cNvPr id="135" name="Freihandform 2">
                <a:extLst>
                  <a:ext uri="{FF2B5EF4-FFF2-40B4-BE49-F238E27FC236}">
                    <a16:creationId xmlns:a16="http://schemas.microsoft.com/office/drawing/2014/main" id="{2AF80260-37DA-4B57-A9D9-8D9875B6ACDD}"/>
                  </a:ext>
                </a:extLst>
              </p:cNvPr>
              <p:cNvSpPr/>
              <p:nvPr/>
            </p:nvSpPr>
            <p:spPr>
              <a:xfrm rot="3862695">
                <a:off x="593855" y="4781793"/>
                <a:ext cx="204822" cy="299108"/>
              </a:xfrm>
              <a:custGeom>
                <a:avLst/>
                <a:gdLst>
                  <a:gd name="connsiteX0" fmla="*/ 0 w 2604340"/>
                  <a:gd name="connsiteY0" fmla="*/ 3041147 h 3803204"/>
                  <a:gd name="connsiteX1" fmla="*/ 267140 w 2604340"/>
                  <a:gd name="connsiteY1" fmla="*/ 2905937 h 3803204"/>
                  <a:gd name="connsiteX2" fmla="*/ 282792 w 2604340"/>
                  <a:gd name="connsiteY2" fmla="*/ 2951061 h 3803204"/>
                  <a:gd name="connsiteX3" fmla="*/ 480643 w 2604340"/>
                  <a:gd name="connsiteY3" fmla="*/ 3174995 h 3803204"/>
                  <a:gd name="connsiteX4" fmla="*/ 1758481 w 2604340"/>
                  <a:gd name="connsiteY4" fmla="*/ 2145699 h 3803204"/>
                  <a:gd name="connsiteX5" fmla="*/ 1848643 w 2604340"/>
                  <a:gd name="connsiteY5" fmla="*/ 1938859 h 3803204"/>
                  <a:gd name="connsiteX6" fmla="*/ 1897152 w 2604340"/>
                  <a:gd name="connsiteY6" fmla="*/ 1800657 h 3803204"/>
                  <a:gd name="connsiteX7" fmla="*/ 1611260 w 2604340"/>
                  <a:gd name="connsiteY7" fmla="*/ 1800657 h 3803204"/>
                  <a:gd name="connsiteX8" fmla="*/ 1855670 w 2604340"/>
                  <a:gd name="connsiteY8" fmla="*/ 1345667 h 3803204"/>
                  <a:gd name="connsiteX9" fmla="*/ 1863888 w 2604340"/>
                  <a:gd name="connsiteY9" fmla="*/ 1340317 h 3803204"/>
                  <a:gd name="connsiteX10" fmla="*/ 1860960 w 2604340"/>
                  <a:gd name="connsiteY10" fmla="*/ 1335819 h 3803204"/>
                  <a:gd name="connsiteX11" fmla="*/ 2107800 w 2604340"/>
                  <a:gd name="connsiteY11" fmla="*/ 876305 h 3803204"/>
                  <a:gd name="connsiteX12" fmla="*/ 2604340 w 2604340"/>
                  <a:gd name="connsiteY12" fmla="*/ 1800657 h 3803204"/>
                  <a:gd name="connsiteX13" fmla="*/ 2343294 w 2604340"/>
                  <a:gd name="connsiteY13" fmla="*/ 1800657 h 3803204"/>
                  <a:gd name="connsiteX14" fmla="*/ 2259663 w 2604340"/>
                  <a:gd name="connsiteY14" fmla="*/ 2038920 h 3803204"/>
                  <a:gd name="connsiteX15" fmla="*/ 2134509 w 2604340"/>
                  <a:gd name="connsiteY15" fmla="*/ 2326036 h 3803204"/>
                  <a:gd name="connsiteX16" fmla="*/ 360740 w 2604340"/>
                  <a:gd name="connsiteY16" fmla="*/ 3754804 h 3803204"/>
                  <a:gd name="connsiteX17" fmla="*/ 751 w 2604340"/>
                  <a:gd name="connsiteY17" fmla="*/ 3061644 h 3803204"/>
                  <a:gd name="connsiteX18" fmla="*/ 1206597 w 2604340"/>
                  <a:gd name="connsiteY18" fmla="*/ 330577 h 3803204"/>
                  <a:gd name="connsiteX19" fmla="*/ 1252178 w 2604340"/>
                  <a:gd name="connsiteY19" fmla="*/ 291070 h 3803204"/>
                  <a:gd name="connsiteX20" fmla="*/ 2138281 w 2604340"/>
                  <a:gd name="connsiteY20" fmla="*/ 48400 h 3803204"/>
                  <a:gd name="connsiteX21" fmla="*/ 2481305 w 2604340"/>
                  <a:gd name="connsiteY21" fmla="*/ 602203 h 3803204"/>
                  <a:gd name="connsiteX22" fmla="*/ 2484421 w 2604340"/>
                  <a:gd name="connsiteY22" fmla="*/ 642341 h 3803204"/>
                  <a:gd name="connsiteX23" fmla="*/ 1925072 w 2604340"/>
                  <a:gd name="connsiteY23" fmla="*/ 673039 h 3803204"/>
                  <a:gd name="connsiteX24" fmla="*/ 1876681 w 2604340"/>
                  <a:gd name="connsiteY24" fmla="*/ 593617 h 3803204"/>
                  <a:gd name="connsiteX25" fmla="*/ 1761198 w 2604340"/>
                  <a:gd name="connsiteY25" fmla="*/ 504872 h 3803204"/>
                  <a:gd name="connsiteX26" fmla="*/ 1380021 w 2604340"/>
                  <a:gd name="connsiteY26" fmla="*/ 520260 h 3803204"/>
                  <a:gd name="connsiteX27" fmla="*/ 1342193 w 2604340"/>
                  <a:gd name="connsiteY27" fmla="*/ 538881 h 380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04340" h="3803204">
                    <a:moveTo>
                      <a:pt x="0" y="3041147"/>
                    </a:moveTo>
                    <a:lnTo>
                      <a:pt x="267140" y="2905937"/>
                    </a:lnTo>
                    <a:lnTo>
                      <a:pt x="282792" y="2951061"/>
                    </a:lnTo>
                    <a:cubicBezTo>
                      <a:pt x="326669" y="3055201"/>
                      <a:pt x="392614" y="3132778"/>
                      <a:pt x="480643" y="3174995"/>
                    </a:cubicBezTo>
                    <a:cubicBezTo>
                      <a:pt x="832758" y="3343865"/>
                      <a:pt x="1404866" y="2883033"/>
                      <a:pt x="1758481" y="2145699"/>
                    </a:cubicBezTo>
                    <a:cubicBezTo>
                      <a:pt x="1791633" y="2076574"/>
                      <a:pt x="1821687" y="2007473"/>
                      <a:pt x="1848643" y="1938859"/>
                    </a:cubicBezTo>
                    <a:lnTo>
                      <a:pt x="1897152" y="1800657"/>
                    </a:lnTo>
                    <a:lnTo>
                      <a:pt x="1611260" y="1800657"/>
                    </a:lnTo>
                    <a:lnTo>
                      <a:pt x="1855670" y="1345667"/>
                    </a:lnTo>
                    <a:lnTo>
                      <a:pt x="1863888" y="1340317"/>
                    </a:lnTo>
                    <a:lnTo>
                      <a:pt x="1860960" y="1335819"/>
                    </a:lnTo>
                    <a:lnTo>
                      <a:pt x="2107800" y="876305"/>
                    </a:lnTo>
                    <a:lnTo>
                      <a:pt x="2604340" y="1800657"/>
                    </a:lnTo>
                    <a:lnTo>
                      <a:pt x="2343294" y="1800657"/>
                    </a:lnTo>
                    <a:lnTo>
                      <a:pt x="2259663" y="2038920"/>
                    </a:lnTo>
                    <a:cubicBezTo>
                      <a:pt x="2222245" y="2134163"/>
                      <a:pt x="2180527" y="2230083"/>
                      <a:pt x="2134509" y="2326036"/>
                    </a:cubicBezTo>
                    <a:cubicBezTo>
                      <a:pt x="1643654" y="3349531"/>
                      <a:pt x="849511" y="3989212"/>
                      <a:pt x="360740" y="3754804"/>
                    </a:cubicBezTo>
                    <a:cubicBezTo>
                      <a:pt x="146903" y="3652251"/>
                      <a:pt x="26942" y="3399381"/>
                      <a:pt x="751" y="3061644"/>
                    </a:cubicBezTo>
                    <a:close/>
                    <a:moveTo>
                      <a:pt x="1206597" y="330577"/>
                    </a:moveTo>
                    <a:lnTo>
                      <a:pt x="1252178" y="291070"/>
                    </a:lnTo>
                    <a:cubicBezTo>
                      <a:pt x="1573167" y="32514"/>
                      <a:pt x="1893895" y="-68804"/>
                      <a:pt x="2138281" y="48400"/>
                    </a:cubicBezTo>
                    <a:cubicBezTo>
                      <a:pt x="2321571" y="136303"/>
                      <a:pt x="2435889" y="334642"/>
                      <a:pt x="2481305" y="602203"/>
                    </a:cubicBezTo>
                    <a:lnTo>
                      <a:pt x="2484421" y="642341"/>
                    </a:lnTo>
                    <a:lnTo>
                      <a:pt x="1925072" y="673039"/>
                    </a:lnTo>
                    <a:lnTo>
                      <a:pt x="1876681" y="593617"/>
                    </a:lnTo>
                    <a:cubicBezTo>
                      <a:pt x="1843707" y="555929"/>
                      <a:pt x="1805213" y="525981"/>
                      <a:pt x="1761198" y="504872"/>
                    </a:cubicBezTo>
                    <a:cubicBezTo>
                      <a:pt x="1651162" y="452100"/>
                      <a:pt x="1519642" y="460823"/>
                      <a:pt x="1380021" y="520260"/>
                    </a:cubicBezTo>
                    <a:lnTo>
                      <a:pt x="1342193" y="538881"/>
                    </a:lnTo>
                    <a:close/>
                  </a:path>
                </a:pathLst>
              </a:custGeom>
              <a:grpFill/>
              <a:ln w="9525" cap="flat" cmpd="sng" algn="ctr">
                <a:noFill/>
                <a:prstDash val="solid"/>
                <a:miter lim="800000"/>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6" name="Freeform 5">
                <a:extLst>
                  <a:ext uri="{FF2B5EF4-FFF2-40B4-BE49-F238E27FC236}">
                    <a16:creationId xmlns:a16="http://schemas.microsoft.com/office/drawing/2014/main" id="{C546264F-8517-4C80-8F7B-47909D90C28A}"/>
                  </a:ext>
                </a:extLst>
              </p:cNvPr>
              <p:cNvSpPr>
                <a:spLocks noEditPoints="1"/>
              </p:cNvSpPr>
              <p:nvPr>
                <p:custDataLst>
                  <p:tags r:id="rId4"/>
                </p:custDataLst>
              </p:nvPr>
            </p:nvSpPr>
            <p:spPr bwMode="auto">
              <a:xfrm flipH="1">
                <a:off x="575990"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7" name="Freeform 5">
                <a:extLst>
                  <a:ext uri="{FF2B5EF4-FFF2-40B4-BE49-F238E27FC236}">
                    <a16:creationId xmlns:a16="http://schemas.microsoft.com/office/drawing/2014/main" id="{E286212F-4E16-4CAF-BDF9-3777D52BBEB9}"/>
                  </a:ext>
                </a:extLst>
              </p:cNvPr>
              <p:cNvSpPr>
                <a:spLocks noEditPoints="1"/>
              </p:cNvSpPr>
              <p:nvPr>
                <p:custDataLst>
                  <p:tags r:id="rId5"/>
                </p:custDataLst>
              </p:nvPr>
            </p:nvSpPr>
            <p:spPr bwMode="auto">
              <a:xfrm flipH="1">
                <a:off x="705807"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8" name="Freeform 5">
                <a:extLst>
                  <a:ext uri="{FF2B5EF4-FFF2-40B4-BE49-F238E27FC236}">
                    <a16:creationId xmlns:a16="http://schemas.microsoft.com/office/drawing/2014/main" id="{947CD474-480F-48F7-B9E5-1D7EEA85E6F9}"/>
                  </a:ext>
                </a:extLst>
              </p:cNvPr>
              <p:cNvSpPr>
                <a:spLocks noEditPoints="1"/>
              </p:cNvSpPr>
              <p:nvPr>
                <p:custDataLst>
                  <p:tags r:id="rId6"/>
                </p:custDataLst>
              </p:nvPr>
            </p:nvSpPr>
            <p:spPr bwMode="auto">
              <a:xfrm flipH="1">
                <a:off x="596338" y="4568541"/>
                <a:ext cx="199856" cy="343122"/>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58" name="Left-Right Arrow 162">
              <a:extLst>
                <a:ext uri="{FF2B5EF4-FFF2-40B4-BE49-F238E27FC236}">
                  <a16:creationId xmlns:a16="http://schemas.microsoft.com/office/drawing/2014/main" id="{8E3D5832-8C91-4223-AE7B-1340B00AF566}"/>
                </a:ext>
              </a:extLst>
            </p:cNvPr>
            <p:cNvSpPr/>
            <p:nvPr/>
          </p:nvSpPr>
          <p:spPr>
            <a:xfrm>
              <a:off x="8094646" y="1428259"/>
              <a:ext cx="1479838" cy="441394"/>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noProof="0">
                  <a:ln>
                    <a:noFill/>
                  </a:ln>
                  <a:solidFill>
                    <a:prstClr val="black"/>
                  </a:solidFill>
                  <a:effectLst/>
                  <a:uLnTx/>
                  <a:uFillTx/>
                  <a:latin typeface="Calibri" panose="020F0502020204030204"/>
                  <a:ea typeface="+mn-ea"/>
                  <a:cs typeface="+mn-cs"/>
                </a:rPr>
                <a:t>Proof of value for DG (semantic layer)</a:t>
              </a:r>
              <a:endParaRPr kumimoji="0" lang="en-US" sz="119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9353EA3E-3E47-4463-9B1D-7FD189270699}"/>
                </a:ext>
              </a:extLst>
            </p:cNvPr>
            <p:cNvGrpSpPr/>
            <p:nvPr/>
          </p:nvGrpSpPr>
          <p:grpSpPr>
            <a:xfrm>
              <a:off x="9557431" y="1400266"/>
              <a:ext cx="524457" cy="508632"/>
              <a:chOff x="5252326" y="891518"/>
              <a:chExt cx="885991" cy="780809"/>
            </a:xfrm>
            <a:solidFill>
              <a:srgbClr val="4472C4"/>
            </a:solidFill>
          </p:grpSpPr>
          <p:sp>
            <p:nvSpPr>
              <p:cNvPr id="131" name="Freeform 5">
                <a:extLst>
                  <a:ext uri="{FF2B5EF4-FFF2-40B4-BE49-F238E27FC236}">
                    <a16:creationId xmlns:a16="http://schemas.microsoft.com/office/drawing/2014/main" id="{ED77F4ED-4DE5-4789-9187-875C34028CB2}"/>
                  </a:ext>
                </a:extLst>
              </p:cNvPr>
              <p:cNvSpPr>
                <a:spLocks/>
              </p:cNvSpPr>
              <p:nvPr/>
            </p:nvSpPr>
            <p:spPr bwMode="auto">
              <a:xfrm>
                <a:off x="5622584" y="1075368"/>
                <a:ext cx="272475" cy="266504"/>
              </a:xfrm>
              <a:custGeom>
                <a:avLst/>
                <a:gdLst>
                  <a:gd name="T0" fmla="*/ 204 w 324"/>
                  <a:gd name="T1" fmla="*/ 113 h 317"/>
                  <a:gd name="T2" fmla="*/ 279 w 324"/>
                  <a:gd name="T3" fmla="*/ 114 h 317"/>
                  <a:gd name="T4" fmla="*/ 319 w 324"/>
                  <a:gd name="T5" fmla="*/ 167 h 317"/>
                  <a:gd name="T6" fmla="*/ 276 w 324"/>
                  <a:gd name="T7" fmla="*/ 204 h 317"/>
                  <a:gd name="T8" fmla="*/ 204 w 324"/>
                  <a:gd name="T9" fmla="*/ 204 h 317"/>
                  <a:gd name="T10" fmla="*/ 204 w 324"/>
                  <a:gd name="T11" fmla="*/ 269 h 317"/>
                  <a:gd name="T12" fmla="*/ 157 w 324"/>
                  <a:gd name="T13" fmla="*/ 316 h 317"/>
                  <a:gd name="T14" fmla="*/ 112 w 324"/>
                  <a:gd name="T15" fmla="*/ 270 h 317"/>
                  <a:gd name="T16" fmla="*/ 112 w 324"/>
                  <a:gd name="T17" fmla="*/ 204 h 317"/>
                  <a:gd name="T18" fmla="*/ 51 w 324"/>
                  <a:gd name="T19" fmla="*/ 204 h 317"/>
                  <a:gd name="T20" fmla="*/ 1 w 324"/>
                  <a:gd name="T21" fmla="*/ 159 h 317"/>
                  <a:gd name="T22" fmla="*/ 50 w 324"/>
                  <a:gd name="T23" fmla="*/ 113 h 317"/>
                  <a:gd name="T24" fmla="*/ 112 w 324"/>
                  <a:gd name="T25" fmla="*/ 112 h 317"/>
                  <a:gd name="T26" fmla="*/ 112 w 324"/>
                  <a:gd name="T27" fmla="*/ 52 h 317"/>
                  <a:gd name="T28" fmla="*/ 157 w 324"/>
                  <a:gd name="T29" fmla="*/ 1 h 317"/>
                  <a:gd name="T30" fmla="*/ 204 w 324"/>
                  <a:gd name="T31" fmla="*/ 52 h 317"/>
                  <a:gd name="T32" fmla="*/ 204 w 324"/>
                  <a:gd name="T33" fmla="*/ 11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4" h="317">
                    <a:moveTo>
                      <a:pt x="204" y="113"/>
                    </a:moveTo>
                    <a:cubicBezTo>
                      <a:pt x="230" y="113"/>
                      <a:pt x="255" y="112"/>
                      <a:pt x="279" y="114"/>
                    </a:cubicBezTo>
                    <a:cubicBezTo>
                      <a:pt x="306" y="115"/>
                      <a:pt x="324" y="140"/>
                      <a:pt x="319" y="167"/>
                    </a:cubicBezTo>
                    <a:cubicBezTo>
                      <a:pt x="315" y="188"/>
                      <a:pt x="298" y="203"/>
                      <a:pt x="276" y="204"/>
                    </a:cubicBezTo>
                    <a:cubicBezTo>
                      <a:pt x="253" y="205"/>
                      <a:pt x="229" y="204"/>
                      <a:pt x="204" y="204"/>
                    </a:cubicBezTo>
                    <a:cubicBezTo>
                      <a:pt x="204" y="227"/>
                      <a:pt x="205" y="248"/>
                      <a:pt x="204" y="269"/>
                    </a:cubicBezTo>
                    <a:cubicBezTo>
                      <a:pt x="204" y="297"/>
                      <a:pt x="184" y="317"/>
                      <a:pt x="157" y="316"/>
                    </a:cubicBezTo>
                    <a:cubicBezTo>
                      <a:pt x="132" y="316"/>
                      <a:pt x="113" y="297"/>
                      <a:pt x="112" y="270"/>
                    </a:cubicBezTo>
                    <a:cubicBezTo>
                      <a:pt x="112" y="249"/>
                      <a:pt x="112" y="227"/>
                      <a:pt x="112" y="204"/>
                    </a:cubicBezTo>
                    <a:cubicBezTo>
                      <a:pt x="91" y="204"/>
                      <a:pt x="71" y="205"/>
                      <a:pt x="51" y="204"/>
                    </a:cubicBezTo>
                    <a:cubicBezTo>
                      <a:pt x="21" y="204"/>
                      <a:pt x="1" y="186"/>
                      <a:pt x="1" y="159"/>
                    </a:cubicBezTo>
                    <a:cubicBezTo>
                      <a:pt x="0" y="132"/>
                      <a:pt x="20" y="113"/>
                      <a:pt x="50" y="113"/>
                    </a:cubicBezTo>
                    <a:cubicBezTo>
                      <a:pt x="70" y="112"/>
                      <a:pt x="90" y="112"/>
                      <a:pt x="112" y="112"/>
                    </a:cubicBezTo>
                    <a:cubicBezTo>
                      <a:pt x="112" y="92"/>
                      <a:pt x="112" y="72"/>
                      <a:pt x="112" y="52"/>
                    </a:cubicBezTo>
                    <a:cubicBezTo>
                      <a:pt x="112" y="22"/>
                      <a:pt x="130" y="1"/>
                      <a:pt x="157" y="1"/>
                    </a:cubicBezTo>
                    <a:cubicBezTo>
                      <a:pt x="184" y="0"/>
                      <a:pt x="203" y="21"/>
                      <a:pt x="204" y="52"/>
                    </a:cubicBezTo>
                    <a:cubicBezTo>
                      <a:pt x="204" y="71"/>
                      <a:pt x="204" y="90"/>
                      <a:pt x="204" y="1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2" name="Freeform 6">
                <a:extLst>
                  <a:ext uri="{FF2B5EF4-FFF2-40B4-BE49-F238E27FC236}">
                    <a16:creationId xmlns:a16="http://schemas.microsoft.com/office/drawing/2014/main" id="{0466A201-E497-4B3B-965E-C3A834601D7F}"/>
                  </a:ext>
                </a:extLst>
              </p:cNvPr>
              <p:cNvSpPr>
                <a:spLocks/>
              </p:cNvSpPr>
              <p:nvPr/>
            </p:nvSpPr>
            <p:spPr bwMode="auto">
              <a:xfrm>
                <a:off x="5863946" y="941173"/>
                <a:ext cx="201763" cy="198307"/>
              </a:xfrm>
              <a:custGeom>
                <a:avLst/>
                <a:gdLst>
                  <a:gd name="T0" fmla="*/ 152 w 240"/>
                  <a:gd name="T1" fmla="*/ 151 h 236"/>
                  <a:gd name="T2" fmla="*/ 152 w 240"/>
                  <a:gd name="T3" fmla="*/ 200 h 236"/>
                  <a:gd name="T4" fmla="*/ 120 w 240"/>
                  <a:gd name="T5" fmla="*/ 235 h 236"/>
                  <a:gd name="T6" fmla="*/ 85 w 240"/>
                  <a:gd name="T7" fmla="*/ 201 h 236"/>
                  <a:gd name="T8" fmla="*/ 85 w 240"/>
                  <a:gd name="T9" fmla="*/ 177 h 236"/>
                  <a:gd name="T10" fmla="*/ 85 w 240"/>
                  <a:gd name="T11" fmla="*/ 151 h 236"/>
                  <a:gd name="T12" fmla="*/ 37 w 240"/>
                  <a:gd name="T13" fmla="*/ 151 h 236"/>
                  <a:gd name="T14" fmla="*/ 1 w 240"/>
                  <a:gd name="T15" fmla="*/ 119 h 236"/>
                  <a:gd name="T16" fmla="*/ 36 w 240"/>
                  <a:gd name="T17" fmla="*/ 84 h 236"/>
                  <a:gd name="T18" fmla="*/ 85 w 240"/>
                  <a:gd name="T19" fmla="*/ 84 h 236"/>
                  <a:gd name="T20" fmla="*/ 85 w 240"/>
                  <a:gd name="T21" fmla="*/ 37 h 236"/>
                  <a:gd name="T22" fmla="*/ 119 w 240"/>
                  <a:gd name="T23" fmla="*/ 1 h 236"/>
                  <a:gd name="T24" fmla="*/ 152 w 240"/>
                  <a:gd name="T25" fmla="*/ 38 h 236"/>
                  <a:gd name="T26" fmla="*/ 152 w 240"/>
                  <a:gd name="T27" fmla="*/ 85 h 236"/>
                  <a:gd name="T28" fmla="*/ 205 w 240"/>
                  <a:gd name="T29" fmla="*/ 85 h 236"/>
                  <a:gd name="T30" fmla="*/ 235 w 240"/>
                  <a:gd name="T31" fmla="*/ 126 h 236"/>
                  <a:gd name="T32" fmla="*/ 202 w 240"/>
                  <a:gd name="T33" fmla="*/ 151 h 236"/>
                  <a:gd name="T34" fmla="*/ 152 w 240"/>
                  <a:gd name="T35" fmla="*/ 15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36">
                    <a:moveTo>
                      <a:pt x="152" y="151"/>
                    </a:moveTo>
                    <a:cubicBezTo>
                      <a:pt x="152" y="169"/>
                      <a:pt x="152" y="184"/>
                      <a:pt x="152" y="200"/>
                    </a:cubicBezTo>
                    <a:cubicBezTo>
                      <a:pt x="152" y="221"/>
                      <a:pt x="139" y="235"/>
                      <a:pt x="120" y="235"/>
                    </a:cubicBezTo>
                    <a:cubicBezTo>
                      <a:pt x="100" y="236"/>
                      <a:pt x="86" y="222"/>
                      <a:pt x="85" y="201"/>
                    </a:cubicBezTo>
                    <a:cubicBezTo>
                      <a:pt x="84" y="193"/>
                      <a:pt x="85" y="185"/>
                      <a:pt x="85" y="177"/>
                    </a:cubicBezTo>
                    <a:cubicBezTo>
                      <a:pt x="85" y="169"/>
                      <a:pt x="85" y="161"/>
                      <a:pt x="85" y="151"/>
                    </a:cubicBezTo>
                    <a:cubicBezTo>
                      <a:pt x="68" y="151"/>
                      <a:pt x="52" y="152"/>
                      <a:pt x="37" y="151"/>
                    </a:cubicBezTo>
                    <a:cubicBezTo>
                      <a:pt x="16" y="151"/>
                      <a:pt x="2" y="138"/>
                      <a:pt x="1" y="119"/>
                    </a:cubicBezTo>
                    <a:cubicBezTo>
                      <a:pt x="0" y="99"/>
                      <a:pt x="14" y="85"/>
                      <a:pt x="36" y="84"/>
                    </a:cubicBezTo>
                    <a:cubicBezTo>
                      <a:pt x="52" y="84"/>
                      <a:pt x="67" y="84"/>
                      <a:pt x="85" y="84"/>
                    </a:cubicBezTo>
                    <a:cubicBezTo>
                      <a:pt x="85" y="67"/>
                      <a:pt x="84" y="52"/>
                      <a:pt x="85" y="37"/>
                    </a:cubicBezTo>
                    <a:cubicBezTo>
                      <a:pt x="85" y="14"/>
                      <a:pt x="99" y="0"/>
                      <a:pt x="119" y="1"/>
                    </a:cubicBezTo>
                    <a:cubicBezTo>
                      <a:pt x="139" y="1"/>
                      <a:pt x="152" y="15"/>
                      <a:pt x="152" y="38"/>
                    </a:cubicBezTo>
                    <a:cubicBezTo>
                      <a:pt x="152" y="53"/>
                      <a:pt x="152" y="67"/>
                      <a:pt x="152" y="85"/>
                    </a:cubicBezTo>
                    <a:cubicBezTo>
                      <a:pt x="170" y="85"/>
                      <a:pt x="188" y="84"/>
                      <a:pt x="205" y="85"/>
                    </a:cubicBezTo>
                    <a:cubicBezTo>
                      <a:pt x="226" y="86"/>
                      <a:pt x="240" y="106"/>
                      <a:pt x="235" y="126"/>
                    </a:cubicBezTo>
                    <a:cubicBezTo>
                      <a:pt x="232" y="141"/>
                      <a:pt x="219" y="151"/>
                      <a:pt x="202" y="151"/>
                    </a:cubicBezTo>
                    <a:cubicBezTo>
                      <a:pt x="187" y="152"/>
                      <a:pt x="171" y="151"/>
                      <a:pt x="152" y="1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3" name="Freeform 7">
                <a:extLst>
                  <a:ext uri="{FF2B5EF4-FFF2-40B4-BE49-F238E27FC236}">
                    <a16:creationId xmlns:a16="http://schemas.microsoft.com/office/drawing/2014/main" id="{1F62B608-17D7-4C01-8063-EA75604E09AD}"/>
                  </a:ext>
                </a:extLst>
              </p:cNvPr>
              <p:cNvSpPr>
                <a:spLocks/>
              </p:cNvSpPr>
              <p:nvPr/>
            </p:nvSpPr>
            <p:spPr bwMode="auto">
              <a:xfrm>
                <a:off x="5543702" y="891518"/>
                <a:ext cx="173165" cy="170650"/>
              </a:xfrm>
              <a:custGeom>
                <a:avLst/>
                <a:gdLst>
                  <a:gd name="T0" fmla="*/ 134 w 206"/>
                  <a:gd name="T1" fmla="*/ 72 h 203"/>
                  <a:gd name="T2" fmla="*/ 173 w 206"/>
                  <a:gd name="T3" fmla="*/ 72 h 203"/>
                  <a:gd name="T4" fmla="*/ 206 w 206"/>
                  <a:gd name="T5" fmla="*/ 101 h 203"/>
                  <a:gd name="T6" fmla="*/ 173 w 206"/>
                  <a:gd name="T7" fmla="*/ 130 h 203"/>
                  <a:gd name="T8" fmla="*/ 139 w 206"/>
                  <a:gd name="T9" fmla="*/ 131 h 203"/>
                  <a:gd name="T10" fmla="*/ 134 w 206"/>
                  <a:gd name="T11" fmla="*/ 132 h 203"/>
                  <a:gd name="T12" fmla="*/ 134 w 206"/>
                  <a:gd name="T13" fmla="*/ 170 h 203"/>
                  <a:gd name="T14" fmla="*/ 104 w 206"/>
                  <a:gd name="T15" fmla="*/ 203 h 203"/>
                  <a:gd name="T16" fmla="*/ 76 w 206"/>
                  <a:gd name="T17" fmla="*/ 171 h 203"/>
                  <a:gd name="T18" fmla="*/ 76 w 206"/>
                  <a:gd name="T19" fmla="*/ 151 h 203"/>
                  <a:gd name="T20" fmla="*/ 76 w 206"/>
                  <a:gd name="T21" fmla="*/ 130 h 203"/>
                  <a:gd name="T22" fmla="*/ 36 w 206"/>
                  <a:gd name="T23" fmla="*/ 130 h 203"/>
                  <a:gd name="T24" fmla="*/ 5 w 206"/>
                  <a:gd name="T25" fmla="*/ 109 h 203"/>
                  <a:gd name="T26" fmla="*/ 33 w 206"/>
                  <a:gd name="T27" fmla="*/ 72 h 203"/>
                  <a:gd name="T28" fmla="*/ 54 w 206"/>
                  <a:gd name="T29" fmla="*/ 72 h 203"/>
                  <a:gd name="T30" fmla="*/ 76 w 206"/>
                  <a:gd name="T31" fmla="*/ 72 h 203"/>
                  <a:gd name="T32" fmla="*/ 76 w 206"/>
                  <a:gd name="T33" fmla="*/ 35 h 203"/>
                  <a:gd name="T34" fmla="*/ 105 w 206"/>
                  <a:gd name="T35" fmla="*/ 0 h 203"/>
                  <a:gd name="T36" fmla="*/ 134 w 206"/>
                  <a:gd name="T37" fmla="*/ 34 h 203"/>
                  <a:gd name="T38" fmla="*/ 134 w 206"/>
                  <a:gd name="T39" fmla="*/ 7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3">
                    <a:moveTo>
                      <a:pt x="134" y="72"/>
                    </a:moveTo>
                    <a:cubicBezTo>
                      <a:pt x="148" y="72"/>
                      <a:pt x="161" y="72"/>
                      <a:pt x="173" y="72"/>
                    </a:cubicBezTo>
                    <a:cubicBezTo>
                      <a:pt x="193" y="72"/>
                      <a:pt x="206" y="84"/>
                      <a:pt x="206" y="101"/>
                    </a:cubicBezTo>
                    <a:cubicBezTo>
                      <a:pt x="206" y="119"/>
                      <a:pt x="193" y="130"/>
                      <a:pt x="173" y="130"/>
                    </a:cubicBezTo>
                    <a:cubicBezTo>
                      <a:pt x="162" y="131"/>
                      <a:pt x="150" y="131"/>
                      <a:pt x="139" y="131"/>
                    </a:cubicBezTo>
                    <a:cubicBezTo>
                      <a:pt x="138" y="131"/>
                      <a:pt x="137" y="131"/>
                      <a:pt x="134" y="132"/>
                    </a:cubicBezTo>
                    <a:cubicBezTo>
                      <a:pt x="134" y="144"/>
                      <a:pt x="134" y="157"/>
                      <a:pt x="134" y="170"/>
                    </a:cubicBezTo>
                    <a:cubicBezTo>
                      <a:pt x="134" y="189"/>
                      <a:pt x="121" y="203"/>
                      <a:pt x="104" y="203"/>
                    </a:cubicBezTo>
                    <a:cubicBezTo>
                      <a:pt x="88" y="203"/>
                      <a:pt x="76" y="189"/>
                      <a:pt x="76" y="171"/>
                    </a:cubicBezTo>
                    <a:cubicBezTo>
                      <a:pt x="75" y="164"/>
                      <a:pt x="76" y="158"/>
                      <a:pt x="76" y="151"/>
                    </a:cubicBezTo>
                    <a:cubicBezTo>
                      <a:pt x="76" y="145"/>
                      <a:pt x="76" y="139"/>
                      <a:pt x="76" y="130"/>
                    </a:cubicBezTo>
                    <a:cubicBezTo>
                      <a:pt x="62" y="130"/>
                      <a:pt x="49" y="131"/>
                      <a:pt x="36" y="130"/>
                    </a:cubicBezTo>
                    <a:cubicBezTo>
                      <a:pt x="21" y="130"/>
                      <a:pt x="9" y="124"/>
                      <a:pt x="5" y="109"/>
                    </a:cubicBezTo>
                    <a:cubicBezTo>
                      <a:pt x="0" y="90"/>
                      <a:pt x="12" y="74"/>
                      <a:pt x="33" y="72"/>
                    </a:cubicBezTo>
                    <a:cubicBezTo>
                      <a:pt x="40" y="72"/>
                      <a:pt x="47" y="72"/>
                      <a:pt x="54" y="72"/>
                    </a:cubicBezTo>
                    <a:cubicBezTo>
                      <a:pt x="61" y="72"/>
                      <a:pt x="68" y="72"/>
                      <a:pt x="76" y="72"/>
                    </a:cubicBezTo>
                    <a:cubicBezTo>
                      <a:pt x="76" y="59"/>
                      <a:pt x="76" y="47"/>
                      <a:pt x="76" y="35"/>
                    </a:cubicBezTo>
                    <a:cubicBezTo>
                      <a:pt x="76" y="14"/>
                      <a:pt x="87" y="0"/>
                      <a:pt x="105" y="0"/>
                    </a:cubicBezTo>
                    <a:cubicBezTo>
                      <a:pt x="122" y="0"/>
                      <a:pt x="134" y="14"/>
                      <a:pt x="134" y="34"/>
                    </a:cubicBezTo>
                    <a:cubicBezTo>
                      <a:pt x="134" y="46"/>
                      <a:pt x="134" y="58"/>
                      <a:pt x="134"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4" name="Freeform 5">
                <a:extLst>
                  <a:ext uri="{FF2B5EF4-FFF2-40B4-BE49-F238E27FC236}">
                    <a16:creationId xmlns:a16="http://schemas.microsoft.com/office/drawing/2014/main" id="{127AF917-EAF3-4F90-A1A3-4B57C6CEB48A}"/>
                  </a:ext>
                </a:extLst>
              </p:cNvPr>
              <p:cNvSpPr>
                <a:spLocks noEditPoints="1"/>
              </p:cNvSpPr>
              <p:nvPr/>
            </p:nvSpPr>
            <p:spPr bwMode="auto">
              <a:xfrm>
                <a:off x="5252326" y="1360433"/>
                <a:ext cx="885991" cy="311894"/>
              </a:xfrm>
              <a:custGeom>
                <a:avLst/>
                <a:gdLst>
                  <a:gd name="T0" fmla="*/ 1508 w 2780"/>
                  <a:gd name="T1" fmla="*/ 982 h 982"/>
                  <a:gd name="T2" fmla="*/ 1501 w 2780"/>
                  <a:gd name="T3" fmla="*/ 981 h 982"/>
                  <a:gd name="T4" fmla="*/ 650 w 2780"/>
                  <a:gd name="T5" fmla="*/ 742 h 982"/>
                  <a:gd name="T6" fmla="*/ 27 w 2780"/>
                  <a:gd name="T7" fmla="*/ 742 h 982"/>
                  <a:gd name="T8" fmla="*/ 0 w 2780"/>
                  <a:gd name="T9" fmla="*/ 715 h 982"/>
                  <a:gd name="T10" fmla="*/ 0 w 2780"/>
                  <a:gd name="T11" fmla="*/ 142 h 982"/>
                  <a:gd name="T12" fmla="*/ 27 w 2780"/>
                  <a:gd name="T13" fmla="*/ 115 h 982"/>
                  <a:gd name="T14" fmla="*/ 393 w 2780"/>
                  <a:gd name="T15" fmla="*/ 115 h 982"/>
                  <a:gd name="T16" fmla="*/ 783 w 2780"/>
                  <a:gd name="T17" fmla="*/ 0 h 982"/>
                  <a:gd name="T18" fmla="*/ 1340 w 2780"/>
                  <a:gd name="T19" fmla="*/ 261 h 982"/>
                  <a:gd name="T20" fmla="*/ 1930 w 2780"/>
                  <a:gd name="T21" fmla="*/ 261 h 982"/>
                  <a:gd name="T22" fmla="*/ 2014 w 2780"/>
                  <a:gd name="T23" fmla="*/ 306 h 982"/>
                  <a:gd name="T24" fmla="*/ 2028 w 2780"/>
                  <a:gd name="T25" fmla="*/ 437 h 982"/>
                  <a:gd name="T26" fmla="*/ 2024 w 2780"/>
                  <a:gd name="T27" fmla="*/ 445 h 982"/>
                  <a:gd name="T28" fmla="*/ 2577 w 2780"/>
                  <a:gd name="T29" fmla="*/ 268 h 982"/>
                  <a:gd name="T30" fmla="*/ 2691 w 2780"/>
                  <a:gd name="T31" fmla="*/ 275 h 982"/>
                  <a:gd name="T32" fmla="*/ 2767 w 2780"/>
                  <a:gd name="T33" fmla="*/ 361 h 982"/>
                  <a:gd name="T34" fmla="*/ 2760 w 2780"/>
                  <a:gd name="T35" fmla="*/ 476 h 982"/>
                  <a:gd name="T36" fmla="*/ 2674 w 2780"/>
                  <a:gd name="T37" fmla="*/ 552 h 982"/>
                  <a:gd name="T38" fmla="*/ 2640 w 2780"/>
                  <a:gd name="T39" fmla="*/ 565 h 982"/>
                  <a:gd name="T40" fmla="*/ 1942 w 2780"/>
                  <a:gd name="T41" fmla="*/ 824 h 982"/>
                  <a:gd name="T42" fmla="*/ 1518 w 2780"/>
                  <a:gd name="T43" fmla="*/ 980 h 982"/>
                  <a:gd name="T44" fmla="*/ 1508 w 2780"/>
                  <a:gd name="T45" fmla="*/ 982 h 982"/>
                  <a:gd name="T46" fmla="*/ 55 w 2780"/>
                  <a:gd name="T47" fmla="*/ 687 h 982"/>
                  <a:gd name="T48" fmla="*/ 654 w 2780"/>
                  <a:gd name="T49" fmla="*/ 687 h 982"/>
                  <a:gd name="T50" fmla="*/ 661 w 2780"/>
                  <a:gd name="T51" fmla="*/ 688 h 982"/>
                  <a:gd name="T52" fmla="*/ 1507 w 2780"/>
                  <a:gd name="T53" fmla="*/ 925 h 982"/>
                  <a:gd name="T54" fmla="*/ 1923 w 2780"/>
                  <a:gd name="T55" fmla="*/ 772 h 982"/>
                  <a:gd name="T56" fmla="*/ 2655 w 2780"/>
                  <a:gd name="T57" fmla="*/ 500 h 982"/>
                  <a:gd name="T58" fmla="*/ 2711 w 2780"/>
                  <a:gd name="T59" fmla="*/ 452 h 982"/>
                  <a:gd name="T60" fmla="*/ 2715 w 2780"/>
                  <a:gd name="T61" fmla="*/ 379 h 982"/>
                  <a:gd name="T62" fmla="*/ 2667 w 2780"/>
                  <a:gd name="T63" fmla="*/ 325 h 982"/>
                  <a:gd name="T64" fmla="*/ 2594 w 2780"/>
                  <a:gd name="T65" fmla="*/ 320 h 982"/>
                  <a:gd name="T66" fmla="*/ 1966 w 2780"/>
                  <a:gd name="T67" fmla="*/ 522 h 982"/>
                  <a:gd name="T68" fmla="*/ 1779 w 2780"/>
                  <a:gd name="T69" fmla="*/ 584 h 982"/>
                  <a:gd name="T70" fmla="*/ 1127 w 2780"/>
                  <a:gd name="T71" fmla="*/ 584 h 982"/>
                  <a:gd name="T72" fmla="*/ 1100 w 2780"/>
                  <a:gd name="T73" fmla="*/ 557 h 982"/>
                  <a:gd name="T74" fmla="*/ 1127 w 2780"/>
                  <a:gd name="T75" fmla="*/ 529 h 982"/>
                  <a:gd name="T76" fmla="*/ 1779 w 2780"/>
                  <a:gd name="T77" fmla="*/ 529 h 982"/>
                  <a:gd name="T78" fmla="*/ 1930 w 2780"/>
                  <a:gd name="T79" fmla="*/ 480 h 982"/>
                  <a:gd name="T80" fmla="*/ 1936 w 2780"/>
                  <a:gd name="T81" fmla="*/ 474 h 982"/>
                  <a:gd name="T82" fmla="*/ 1977 w 2780"/>
                  <a:gd name="T83" fmla="*/ 416 h 982"/>
                  <a:gd name="T84" fmla="*/ 1968 w 2780"/>
                  <a:gd name="T85" fmla="*/ 337 h 982"/>
                  <a:gd name="T86" fmla="*/ 1930 w 2780"/>
                  <a:gd name="T87" fmla="*/ 316 h 982"/>
                  <a:gd name="T88" fmla="*/ 1326 w 2780"/>
                  <a:gd name="T89" fmla="*/ 316 h 982"/>
                  <a:gd name="T90" fmla="*/ 1326 w 2780"/>
                  <a:gd name="T91" fmla="*/ 316 h 982"/>
                  <a:gd name="T92" fmla="*/ 1305 w 2780"/>
                  <a:gd name="T93" fmla="*/ 306 h 982"/>
                  <a:gd name="T94" fmla="*/ 783 w 2780"/>
                  <a:gd name="T95" fmla="*/ 56 h 982"/>
                  <a:gd name="T96" fmla="*/ 416 w 2780"/>
                  <a:gd name="T97" fmla="*/ 165 h 982"/>
                  <a:gd name="T98" fmla="*/ 401 w 2780"/>
                  <a:gd name="T99" fmla="*/ 170 h 982"/>
                  <a:gd name="T100" fmla="*/ 55 w 2780"/>
                  <a:gd name="T101" fmla="*/ 170 h 982"/>
                  <a:gd name="T102" fmla="*/ 55 w 2780"/>
                  <a:gd name="T103" fmla="*/ 68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0" h="982">
                    <a:moveTo>
                      <a:pt x="1508" y="982"/>
                    </a:moveTo>
                    <a:cubicBezTo>
                      <a:pt x="1506" y="982"/>
                      <a:pt x="1503" y="982"/>
                      <a:pt x="1501" y="981"/>
                    </a:cubicBezTo>
                    <a:cubicBezTo>
                      <a:pt x="650" y="742"/>
                      <a:pt x="650" y="742"/>
                      <a:pt x="650" y="742"/>
                    </a:cubicBezTo>
                    <a:cubicBezTo>
                      <a:pt x="27" y="742"/>
                      <a:pt x="27" y="742"/>
                      <a:pt x="27" y="742"/>
                    </a:cubicBezTo>
                    <a:cubicBezTo>
                      <a:pt x="12" y="742"/>
                      <a:pt x="0" y="730"/>
                      <a:pt x="0" y="715"/>
                    </a:cubicBezTo>
                    <a:cubicBezTo>
                      <a:pt x="0" y="142"/>
                      <a:pt x="0" y="142"/>
                      <a:pt x="0" y="142"/>
                    </a:cubicBezTo>
                    <a:cubicBezTo>
                      <a:pt x="0" y="127"/>
                      <a:pt x="12" y="115"/>
                      <a:pt x="27" y="115"/>
                    </a:cubicBezTo>
                    <a:cubicBezTo>
                      <a:pt x="393" y="115"/>
                      <a:pt x="393" y="115"/>
                      <a:pt x="393" y="115"/>
                    </a:cubicBezTo>
                    <a:cubicBezTo>
                      <a:pt x="509" y="40"/>
                      <a:pt x="644" y="0"/>
                      <a:pt x="783" y="0"/>
                    </a:cubicBezTo>
                    <a:cubicBezTo>
                      <a:pt x="1000" y="0"/>
                      <a:pt x="1202" y="95"/>
                      <a:pt x="1340" y="261"/>
                    </a:cubicBezTo>
                    <a:cubicBezTo>
                      <a:pt x="1930" y="261"/>
                      <a:pt x="1930" y="261"/>
                      <a:pt x="1930" y="261"/>
                    </a:cubicBezTo>
                    <a:cubicBezTo>
                      <a:pt x="1964" y="261"/>
                      <a:pt x="1994" y="277"/>
                      <a:pt x="2014" y="306"/>
                    </a:cubicBezTo>
                    <a:cubicBezTo>
                      <a:pt x="2039" y="342"/>
                      <a:pt x="2044" y="396"/>
                      <a:pt x="2028" y="437"/>
                    </a:cubicBezTo>
                    <a:cubicBezTo>
                      <a:pt x="2027" y="439"/>
                      <a:pt x="2025" y="442"/>
                      <a:pt x="2024" y="445"/>
                    </a:cubicBezTo>
                    <a:cubicBezTo>
                      <a:pt x="2577" y="268"/>
                      <a:pt x="2577" y="268"/>
                      <a:pt x="2577" y="268"/>
                    </a:cubicBezTo>
                    <a:cubicBezTo>
                      <a:pt x="2614" y="255"/>
                      <a:pt x="2655" y="257"/>
                      <a:pt x="2691" y="275"/>
                    </a:cubicBezTo>
                    <a:cubicBezTo>
                      <a:pt x="2727" y="293"/>
                      <a:pt x="2754" y="323"/>
                      <a:pt x="2767" y="361"/>
                    </a:cubicBezTo>
                    <a:cubicBezTo>
                      <a:pt x="2780" y="399"/>
                      <a:pt x="2778" y="440"/>
                      <a:pt x="2760" y="476"/>
                    </a:cubicBezTo>
                    <a:cubicBezTo>
                      <a:pt x="2743" y="512"/>
                      <a:pt x="2712" y="539"/>
                      <a:pt x="2674" y="552"/>
                    </a:cubicBezTo>
                    <a:cubicBezTo>
                      <a:pt x="2640" y="565"/>
                      <a:pt x="2640" y="565"/>
                      <a:pt x="2640" y="565"/>
                    </a:cubicBezTo>
                    <a:cubicBezTo>
                      <a:pt x="1942" y="824"/>
                      <a:pt x="1942" y="824"/>
                      <a:pt x="1942" y="824"/>
                    </a:cubicBezTo>
                    <a:cubicBezTo>
                      <a:pt x="1518" y="980"/>
                      <a:pt x="1518" y="980"/>
                      <a:pt x="1518" y="980"/>
                    </a:cubicBezTo>
                    <a:cubicBezTo>
                      <a:pt x="1515" y="981"/>
                      <a:pt x="1511" y="982"/>
                      <a:pt x="1508" y="982"/>
                    </a:cubicBezTo>
                    <a:close/>
                    <a:moveTo>
                      <a:pt x="55" y="687"/>
                    </a:moveTo>
                    <a:cubicBezTo>
                      <a:pt x="654" y="687"/>
                      <a:pt x="654" y="687"/>
                      <a:pt x="654" y="687"/>
                    </a:cubicBezTo>
                    <a:cubicBezTo>
                      <a:pt x="656" y="687"/>
                      <a:pt x="659" y="687"/>
                      <a:pt x="661" y="688"/>
                    </a:cubicBezTo>
                    <a:cubicBezTo>
                      <a:pt x="1507" y="925"/>
                      <a:pt x="1507" y="925"/>
                      <a:pt x="1507" y="925"/>
                    </a:cubicBezTo>
                    <a:cubicBezTo>
                      <a:pt x="1923" y="772"/>
                      <a:pt x="1923" y="772"/>
                      <a:pt x="1923" y="772"/>
                    </a:cubicBezTo>
                    <a:cubicBezTo>
                      <a:pt x="2655" y="500"/>
                      <a:pt x="2655" y="500"/>
                      <a:pt x="2655" y="500"/>
                    </a:cubicBezTo>
                    <a:cubicBezTo>
                      <a:pt x="2680" y="492"/>
                      <a:pt x="2699" y="475"/>
                      <a:pt x="2711" y="452"/>
                    </a:cubicBezTo>
                    <a:cubicBezTo>
                      <a:pt x="2722" y="429"/>
                      <a:pt x="2723" y="403"/>
                      <a:pt x="2715" y="379"/>
                    </a:cubicBezTo>
                    <a:cubicBezTo>
                      <a:pt x="2707" y="355"/>
                      <a:pt x="2690" y="336"/>
                      <a:pt x="2667" y="325"/>
                    </a:cubicBezTo>
                    <a:cubicBezTo>
                      <a:pt x="2644" y="314"/>
                      <a:pt x="2618" y="312"/>
                      <a:pt x="2594" y="320"/>
                    </a:cubicBezTo>
                    <a:cubicBezTo>
                      <a:pt x="1966" y="522"/>
                      <a:pt x="1966" y="522"/>
                      <a:pt x="1966" y="522"/>
                    </a:cubicBezTo>
                    <a:cubicBezTo>
                      <a:pt x="1927" y="555"/>
                      <a:pt x="1868" y="584"/>
                      <a:pt x="1779" y="584"/>
                    </a:cubicBezTo>
                    <a:cubicBezTo>
                      <a:pt x="1127" y="584"/>
                      <a:pt x="1127" y="584"/>
                      <a:pt x="1127" y="584"/>
                    </a:cubicBezTo>
                    <a:cubicBezTo>
                      <a:pt x="1112" y="584"/>
                      <a:pt x="1100" y="572"/>
                      <a:pt x="1100" y="557"/>
                    </a:cubicBezTo>
                    <a:cubicBezTo>
                      <a:pt x="1100" y="542"/>
                      <a:pt x="1112" y="529"/>
                      <a:pt x="1127" y="529"/>
                    </a:cubicBezTo>
                    <a:cubicBezTo>
                      <a:pt x="1779" y="529"/>
                      <a:pt x="1779" y="529"/>
                      <a:pt x="1779" y="529"/>
                    </a:cubicBezTo>
                    <a:cubicBezTo>
                      <a:pt x="1852" y="529"/>
                      <a:pt x="1900" y="506"/>
                      <a:pt x="1930" y="480"/>
                    </a:cubicBezTo>
                    <a:cubicBezTo>
                      <a:pt x="1932" y="478"/>
                      <a:pt x="1934" y="476"/>
                      <a:pt x="1936" y="474"/>
                    </a:cubicBezTo>
                    <a:cubicBezTo>
                      <a:pt x="1959" y="453"/>
                      <a:pt x="1971" y="430"/>
                      <a:pt x="1977" y="416"/>
                    </a:cubicBezTo>
                    <a:cubicBezTo>
                      <a:pt x="1986" y="392"/>
                      <a:pt x="1983" y="358"/>
                      <a:pt x="1968" y="337"/>
                    </a:cubicBezTo>
                    <a:cubicBezTo>
                      <a:pt x="1959" y="323"/>
                      <a:pt x="1946" y="316"/>
                      <a:pt x="1930" y="316"/>
                    </a:cubicBezTo>
                    <a:cubicBezTo>
                      <a:pt x="1326" y="316"/>
                      <a:pt x="1326" y="316"/>
                      <a:pt x="1326" y="316"/>
                    </a:cubicBezTo>
                    <a:cubicBezTo>
                      <a:pt x="1326" y="316"/>
                      <a:pt x="1326" y="316"/>
                      <a:pt x="1326" y="316"/>
                    </a:cubicBezTo>
                    <a:cubicBezTo>
                      <a:pt x="1318" y="316"/>
                      <a:pt x="1310" y="312"/>
                      <a:pt x="1305" y="306"/>
                    </a:cubicBezTo>
                    <a:cubicBezTo>
                      <a:pt x="1177" y="147"/>
                      <a:pt x="987" y="56"/>
                      <a:pt x="783" y="56"/>
                    </a:cubicBezTo>
                    <a:cubicBezTo>
                      <a:pt x="652" y="56"/>
                      <a:pt x="525" y="94"/>
                      <a:pt x="416" y="165"/>
                    </a:cubicBezTo>
                    <a:cubicBezTo>
                      <a:pt x="412" y="168"/>
                      <a:pt x="407" y="170"/>
                      <a:pt x="401" y="170"/>
                    </a:cubicBezTo>
                    <a:cubicBezTo>
                      <a:pt x="55" y="170"/>
                      <a:pt x="55" y="170"/>
                      <a:pt x="55" y="170"/>
                    </a:cubicBezTo>
                    <a:lnTo>
                      <a:pt x="55" y="6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27D56641-E6DE-4F5D-9D03-A8D3E91F09F5}"/>
                </a:ext>
              </a:extLst>
            </p:cNvPr>
            <p:cNvGrpSpPr>
              <a:grpSpLocks noChangeAspect="1"/>
            </p:cNvGrpSpPr>
            <p:nvPr/>
          </p:nvGrpSpPr>
          <p:grpSpPr>
            <a:xfrm>
              <a:off x="2368738" y="2599962"/>
              <a:ext cx="504539" cy="500073"/>
              <a:chOff x="3459902" y="107180"/>
              <a:chExt cx="5297625" cy="5250739"/>
            </a:xfrm>
            <a:solidFill>
              <a:srgbClr val="4472C4"/>
            </a:solidFill>
          </p:grpSpPr>
          <p:sp>
            <p:nvSpPr>
              <p:cNvPr id="115" name="Freeform: Shape 114">
                <a:extLst>
                  <a:ext uri="{FF2B5EF4-FFF2-40B4-BE49-F238E27FC236}">
                    <a16:creationId xmlns:a16="http://schemas.microsoft.com/office/drawing/2014/main" id="{10CDED6E-BF2A-4C6A-B321-B5440B53759A}"/>
                  </a:ext>
                </a:extLst>
              </p:cNvPr>
              <p:cNvSpPr/>
              <p:nvPr/>
            </p:nvSpPr>
            <p:spPr>
              <a:xfrm>
                <a:off x="3459902" y="4148716"/>
                <a:ext cx="2404432" cy="1209165"/>
              </a:xfrm>
              <a:custGeom>
                <a:avLst/>
                <a:gdLst>
                  <a:gd name="connsiteX0" fmla="*/ 2297313 w 2404432"/>
                  <a:gd name="connsiteY0" fmla="*/ 1209146 h 1209165"/>
                  <a:gd name="connsiteX1" fmla="*/ 107161 w 2404432"/>
                  <a:gd name="connsiteY1" fmla="*/ 1209146 h 1209165"/>
                  <a:gd name="connsiteX2" fmla="*/ 0 w 2404432"/>
                  <a:gd name="connsiteY2" fmla="*/ 1101985 h 1209165"/>
                  <a:gd name="connsiteX3" fmla="*/ 0 w 2404432"/>
                  <a:gd name="connsiteY3" fmla="*/ 602526 h 1209165"/>
                  <a:gd name="connsiteX4" fmla="*/ 348484 w 2404432"/>
                  <a:gd name="connsiteY4" fmla="*/ 129931 h 1209165"/>
                  <a:gd name="connsiteX5" fmla="*/ 752959 w 2404432"/>
                  <a:gd name="connsiteY5" fmla="*/ 4792 h 1209165"/>
                  <a:gd name="connsiteX6" fmla="*/ 842549 w 2404432"/>
                  <a:gd name="connsiteY6" fmla="*/ 17001 h 1209165"/>
                  <a:gd name="connsiteX7" fmla="*/ 1205426 w 2404432"/>
                  <a:gd name="connsiteY7" fmla="*/ 250183 h 1209165"/>
                  <a:gd name="connsiteX8" fmla="*/ 1618326 w 2404432"/>
                  <a:gd name="connsiteY8" fmla="*/ 14130 h 1209165"/>
                  <a:gd name="connsiteX9" fmla="*/ 1705544 w 2404432"/>
                  <a:gd name="connsiteY9" fmla="*/ 5558 h 1209165"/>
                  <a:gd name="connsiteX10" fmla="*/ 2066852 w 2404432"/>
                  <a:gd name="connsiteY10" fmla="*/ 126572 h 1209165"/>
                  <a:gd name="connsiteX11" fmla="*/ 2404432 w 2404432"/>
                  <a:gd name="connsiteY11" fmla="*/ 595649 h 1209165"/>
                  <a:gd name="connsiteX12" fmla="*/ 2404432 w 2404432"/>
                  <a:gd name="connsiteY12" fmla="*/ 1102005 h 1209165"/>
                  <a:gd name="connsiteX13" fmla="*/ 2297271 w 2404432"/>
                  <a:gd name="connsiteY13" fmla="*/ 1209166 h 1209165"/>
                  <a:gd name="connsiteX14" fmla="*/ 214342 w 2404432"/>
                  <a:gd name="connsiteY14" fmla="*/ 994833 h 1209165"/>
                  <a:gd name="connsiteX15" fmla="*/ 2190132 w 2404432"/>
                  <a:gd name="connsiteY15" fmla="*/ 994833 h 1209165"/>
                  <a:gd name="connsiteX16" fmla="*/ 2190132 w 2404432"/>
                  <a:gd name="connsiteY16" fmla="*/ 595678 h 1209165"/>
                  <a:gd name="connsiteX17" fmla="*/ 1998823 w 2404432"/>
                  <a:gd name="connsiteY17" fmla="*/ 329813 h 1209165"/>
                  <a:gd name="connsiteX18" fmla="*/ 1683061 w 2404432"/>
                  <a:gd name="connsiteY18" fmla="*/ 224033 h 1209165"/>
                  <a:gd name="connsiteX19" fmla="*/ 1255435 w 2404432"/>
                  <a:gd name="connsiteY19" fmla="*/ 468540 h 1209165"/>
                  <a:gd name="connsiteX20" fmla="*/ 1144336 w 2404432"/>
                  <a:gd name="connsiteY20" fmla="*/ 465670 h 1209165"/>
                  <a:gd name="connsiteX21" fmla="*/ 768713 w 2404432"/>
                  <a:gd name="connsiteY21" fmla="*/ 224298 h 1209165"/>
                  <a:gd name="connsiteX22" fmla="*/ 411843 w 2404432"/>
                  <a:gd name="connsiteY22" fmla="*/ 334712 h 1209165"/>
                  <a:gd name="connsiteX23" fmla="*/ 214332 w 2404432"/>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2" h="1209165">
                    <a:moveTo>
                      <a:pt x="2297313"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326" y="14130"/>
                    </a:lnTo>
                    <a:cubicBezTo>
                      <a:pt x="1644847" y="-1025"/>
                      <a:pt x="1676573" y="-4163"/>
                      <a:pt x="1705544" y="5558"/>
                    </a:cubicBezTo>
                    <a:lnTo>
                      <a:pt x="2066852" y="126572"/>
                    </a:lnTo>
                    <a:cubicBezTo>
                      <a:pt x="2268762" y="194233"/>
                      <a:pt x="2404432" y="382718"/>
                      <a:pt x="2404432" y="595649"/>
                    </a:cubicBezTo>
                    <a:lnTo>
                      <a:pt x="2404432" y="1102005"/>
                    </a:lnTo>
                    <a:cubicBezTo>
                      <a:pt x="2404432" y="1161171"/>
                      <a:pt x="2356480" y="1209166"/>
                      <a:pt x="2297271"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336" y="465670"/>
                    </a:cubicBezTo>
                    <a:lnTo>
                      <a:pt x="768713" y="224298"/>
                    </a:lnTo>
                    <a:lnTo>
                      <a:pt x="41184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6" name="Freeform: Shape 115">
                <a:extLst>
                  <a:ext uri="{FF2B5EF4-FFF2-40B4-BE49-F238E27FC236}">
                    <a16:creationId xmlns:a16="http://schemas.microsoft.com/office/drawing/2014/main" id="{32E01500-6D9B-40AA-B748-24CD537987BC}"/>
                  </a:ext>
                </a:extLst>
              </p:cNvPr>
              <p:cNvSpPr/>
              <p:nvPr/>
            </p:nvSpPr>
            <p:spPr>
              <a:xfrm>
                <a:off x="3935558"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09 w 1501844"/>
                  <a:gd name="connsiteY7" fmla="*/ 428596 h 642971"/>
                  <a:gd name="connsiteX8" fmla="*/ 1285923 w 1501844"/>
                  <a:gd name="connsiteY8" fmla="*/ 107543 h 642971"/>
                  <a:gd name="connsiteX9" fmla="*/ 1392692 w 1501844"/>
                  <a:gd name="connsiteY9" fmla="*/ 0 h 642971"/>
                  <a:gd name="connsiteX10" fmla="*/ 1393113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8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09" y="428596"/>
                    </a:lnTo>
                    <a:lnTo>
                      <a:pt x="1285923" y="107543"/>
                    </a:lnTo>
                    <a:cubicBezTo>
                      <a:pt x="1285693" y="48377"/>
                      <a:pt x="1333493" y="196"/>
                      <a:pt x="1392692" y="0"/>
                    </a:cubicBezTo>
                    <a:lnTo>
                      <a:pt x="1393113" y="0"/>
                    </a:lnTo>
                    <a:cubicBezTo>
                      <a:pt x="1452087" y="0"/>
                      <a:pt x="1500039" y="47723"/>
                      <a:pt x="1500275" y="106769"/>
                    </a:cubicBezTo>
                    <a:lnTo>
                      <a:pt x="1501844" y="535394"/>
                    </a:lnTo>
                    <a:cubicBezTo>
                      <a:pt x="1501959" y="563867"/>
                      <a:pt x="1490707" y="591230"/>
                      <a:pt x="1470615" y="611436"/>
                    </a:cubicBezTo>
                    <a:cubicBezTo>
                      <a:pt x="1450523" y="631643"/>
                      <a:pt x="1423199" y="642972"/>
                      <a:pt x="1394688"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7" name="Freeform: Shape 116">
                <a:extLst>
                  <a:ext uri="{FF2B5EF4-FFF2-40B4-BE49-F238E27FC236}">
                    <a16:creationId xmlns:a16="http://schemas.microsoft.com/office/drawing/2014/main" id="{8DFF0DFE-0E9A-42B8-9024-E8A25412A5A9}"/>
                  </a:ext>
                </a:extLst>
              </p:cNvPr>
              <p:cNvSpPr/>
              <p:nvPr/>
            </p:nvSpPr>
            <p:spPr>
              <a:xfrm>
                <a:off x="3995737"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8" name="Freeform: Shape 117">
                <a:extLst>
                  <a:ext uri="{FF2B5EF4-FFF2-40B4-BE49-F238E27FC236}">
                    <a16:creationId xmlns:a16="http://schemas.microsoft.com/office/drawing/2014/main" id="{F8579BDA-06B3-48B3-839D-EE86858F0D79}"/>
                  </a:ext>
                </a:extLst>
              </p:cNvPr>
              <p:cNvSpPr/>
              <p:nvPr/>
            </p:nvSpPr>
            <p:spPr>
              <a:xfrm>
                <a:off x="6353096" y="4148716"/>
                <a:ext cx="2404431" cy="1209165"/>
              </a:xfrm>
              <a:custGeom>
                <a:avLst/>
                <a:gdLst>
                  <a:gd name="connsiteX0" fmla="*/ 2297312 w 2404431"/>
                  <a:gd name="connsiteY0" fmla="*/ 1209146 h 1209165"/>
                  <a:gd name="connsiteX1" fmla="*/ 107161 w 2404431"/>
                  <a:gd name="connsiteY1" fmla="*/ 1209146 h 1209165"/>
                  <a:gd name="connsiteX2" fmla="*/ 0 w 2404431"/>
                  <a:gd name="connsiteY2" fmla="*/ 1101985 h 1209165"/>
                  <a:gd name="connsiteX3" fmla="*/ 0 w 2404431"/>
                  <a:gd name="connsiteY3" fmla="*/ 602526 h 1209165"/>
                  <a:gd name="connsiteX4" fmla="*/ 348484 w 2404431"/>
                  <a:gd name="connsiteY4" fmla="*/ 129931 h 1209165"/>
                  <a:gd name="connsiteX5" fmla="*/ 752959 w 2404431"/>
                  <a:gd name="connsiteY5" fmla="*/ 4792 h 1209165"/>
                  <a:gd name="connsiteX6" fmla="*/ 842549 w 2404431"/>
                  <a:gd name="connsiteY6" fmla="*/ 17001 h 1209165"/>
                  <a:gd name="connsiteX7" fmla="*/ 1205426 w 2404431"/>
                  <a:gd name="connsiteY7" fmla="*/ 250183 h 1209165"/>
                  <a:gd name="connsiteX8" fmla="*/ 1618287 w 2404431"/>
                  <a:gd name="connsiteY8" fmla="*/ 14130 h 1209165"/>
                  <a:gd name="connsiteX9" fmla="*/ 1705504 w 2404431"/>
                  <a:gd name="connsiteY9" fmla="*/ 5558 h 1209165"/>
                  <a:gd name="connsiteX10" fmla="*/ 2066813 w 2404431"/>
                  <a:gd name="connsiteY10" fmla="*/ 126572 h 1209165"/>
                  <a:gd name="connsiteX11" fmla="*/ 2404393 w 2404431"/>
                  <a:gd name="connsiteY11" fmla="*/ 595649 h 1209165"/>
                  <a:gd name="connsiteX12" fmla="*/ 2404432 w 2404431"/>
                  <a:gd name="connsiteY12" fmla="*/ 1102005 h 1209165"/>
                  <a:gd name="connsiteX13" fmla="*/ 2297270 w 2404431"/>
                  <a:gd name="connsiteY13" fmla="*/ 1209166 h 1209165"/>
                  <a:gd name="connsiteX14" fmla="*/ 214342 w 2404431"/>
                  <a:gd name="connsiteY14" fmla="*/ 994833 h 1209165"/>
                  <a:gd name="connsiteX15" fmla="*/ 2190132 w 2404431"/>
                  <a:gd name="connsiteY15" fmla="*/ 994833 h 1209165"/>
                  <a:gd name="connsiteX16" fmla="*/ 2190132 w 2404431"/>
                  <a:gd name="connsiteY16" fmla="*/ 595678 h 1209165"/>
                  <a:gd name="connsiteX17" fmla="*/ 1998823 w 2404431"/>
                  <a:gd name="connsiteY17" fmla="*/ 329813 h 1209165"/>
                  <a:gd name="connsiteX18" fmla="*/ 1683061 w 2404431"/>
                  <a:gd name="connsiteY18" fmla="*/ 224033 h 1209165"/>
                  <a:gd name="connsiteX19" fmla="*/ 1255435 w 2404431"/>
                  <a:gd name="connsiteY19" fmla="*/ 468540 h 1209165"/>
                  <a:gd name="connsiteX20" fmla="*/ 1144296 w 2404431"/>
                  <a:gd name="connsiteY20" fmla="*/ 465670 h 1209165"/>
                  <a:gd name="connsiteX21" fmla="*/ 768674 w 2404431"/>
                  <a:gd name="connsiteY21" fmla="*/ 224298 h 1209165"/>
                  <a:gd name="connsiteX22" fmla="*/ 411803 w 2404431"/>
                  <a:gd name="connsiteY22" fmla="*/ 334712 h 1209165"/>
                  <a:gd name="connsiteX23" fmla="*/ 214332 w 2404431"/>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1" h="1209165">
                    <a:moveTo>
                      <a:pt x="2297312"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287" y="14130"/>
                    </a:lnTo>
                    <a:cubicBezTo>
                      <a:pt x="1644846" y="-1025"/>
                      <a:pt x="1676573" y="-4163"/>
                      <a:pt x="1705504" y="5558"/>
                    </a:cubicBezTo>
                    <a:lnTo>
                      <a:pt x="2066813" y="126572"/>
                    </a:lnTo>
                    <a:cubicBezTo>
                      <a:pt x="2268723" y="194233"/>
                      <a:pt x="2404393" y="382718"/>
                      <a:pt x="2404393" y="595649"/>
                    </a:cubicBezTo>
                    <a:lnTo>
                      <a:pt x="2404432" y="1102005"/>
                    </a:lnTo>
                    <a:cubicBezTo>
                      <a:pt x="2404432" y="1161171"/>
                      <a:pt x="2356441" y="1209166"/>
                      <a:pt x="2297270"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296" y="465670"/>
                    </a:cubicBezTo>
                    <a:lnTo>
                      <a:pt x="768674" y="224298"/>
                    </a:lnTo>
                    <a:lnTo>
                      <a:pt x="41180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9" name="Freeform: Shape 118">
                <a:extLst>
                  <a:ext uri="{FF2B5EF4-FFF2-40B4-BE49-F238E27FC236}">
                    <a16:creationId xmlns:a16="http://schemas.microsoft.com/office/drawing/2014/main" id="{8411FB42-3927-4662-AF58-0DB9BFF591C3}"/>
                  </a:ext>
                </a:extLst>
              </p:cNvPr>
              <p:cNvSpPr/>
              <p:nvPr/>
            </p:nvSpPr>
            <p:spPr>
              <a:xfrm>
                <a:off x="6828752"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10" y="428596"/>
                    </a:lnTo>
                    <a:lnTo>
                      <a:pt x="1285923" y="107543"/>
                    </a:lnTo>
                    <a:cubicBezTo>
                      <a:pt x="1285694" y="48377"/>
                      <a:pt x="1333493" y="196"/>
                      <a:pt x="1392693" y="0"/>
                    </a:cubicBezTo>
                    <a:lnTo>
                      <a:pt x="1393114" y="0"/>
                    </a:lnTo>
                    <a:cubicBezTo>
                      <a:pt x="1452125" y="0"/>
                      <a:pt x="1500040" y="47723"/>
                      <a:pt x="1500275" y="106769"/>
                    </a:cubicBezTo>
                    <a:lnTo>
                      <a:pt x="1501844" y="535394"/>
                    </a:lnTo>
                    <a:cubicBezTo>
                      <a:pt x="1501958" y="563906"/>
                      <a:pt x="1490707" y="591230"/>
                      <a:pt x="1470615" y="611436"/>
                    </a:cubicBezTo>
                    <a:cubicBezTo>
                      <a:pt x="1450523" y="631643"/>
                      <a:pt x="1423199" y="642972"/>
                      <a:pt x="1394687"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0" name="Freeform: Shape 119">
                <a:extLst>
                  <a:ext uri="{FF2B5EF4-FFF2-40B4-BE49-F238E27FC236}">
                    <a16:creationId xmlns:a16="http://schemas.microsoft.com/office/drawing/2014/main" id="{9F51A64A-8E9D-4C8D-BA65-C355C43FBAB7}"/>
                  </a:ext>
                </a:extLst>
              </p:cNvPr>
              <p:cNvSpPr/>
              <p:nvPr/>
            </p:nvSpPr>
            <p:spPr>
              <a:xfrm>
                <a:off x="6996112"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9"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B1F44D40-E3C8-4626-A9F0-DB5E7C4176AB}"/>
                  </a:ext>
                </a:extLst>
              </p:cNvPr>
              <p:cNvSpPr/>
              <p:nvPr/>
            </p:nvSpPr>
            <p:spPr>
              <a:xfrm>
                <a:off x="4960138" y="1469793"/>
                <a:ext cx="2357441" cy="1209137"/>
              </a:xfrm>
              <a:custGeom>
                <a:avLst/>
                <a:gdLst>
                  <a:gd name="connsiteX0" fmla="*/ 2250286 w 2357441"/>
                  <a:gd name="connsiteY0" fmla="*/ 1209138 h 1209137"/>
                  <a:gd name="connsiteX1" fmla="*/ 107161 w 2357441"/>
                  <a:gd name="connsiteY1" fmla="*/ 1209138 h 1209137"/>
                  <a:gd name="connsiteX2" fmla="*/ 0 w 2357441"/>
                  <a:gd name="connsiteY2" fmla="*/ 1101977 h 1209137"/>
                  <a:gd name="connsiteX3" fmla="*/ 0 w 2357441"/>
                  <a:gd name="connsiteY3" fmla="*/ 600676 h 1209137"/>
                  <a:gd name="connsiteX4" fmla="*/ 345545 w 2357441"/>
                  <a:gd name="connsiteY4" fmla="*/ 128993 h 1209137"/>
                  <a:gd name="connsiteX5" fmla="*/ 737774 w 2357441"/>
                  <a:gd name="connsiteY5" fmla="*/ 5000 h 1209137"/>
                  <a:gd name="connsiteX6" fmla="*/ 828895 w 2357441"/>
                  <a:gd name="connsiteY6" fmla="*/ 17592 h 1209137"/>
                  <a:gd name="connsiteX7" fmla="*/ 1181974 w 2357441"/>
                  <a:gd name="connsiteY7" fmla="*/ 249470 h 1209137"/>
                  <a:gd name="connsiteX8" fmla="*/ 1583853 w 2357441"/>
                  <a:gd name="connsiteY8" fmla="*/ 14643 h 1209137"/>
                  <a:gd name="connsiteX9" fmla="*/ 1672602 w 2357441"/>
                  <a:gd name="connsiteY9" fmla="*/ 5764 h 1209137"/>
                  <a:gd name="connsiteX10" fmla="*/ 2022889 w 2357441"/>
                  <a:gd name="connsiteY10" fmla="*/ 125661 h 1209137"/>
                  <a:gd name="connsiteX11" fmla="*/ 2357442 w 2357441"/>
                  <a:gd name="connsiteY11" fmla="*/ 593700 h 1209137"/>
                  <a:gd name="connsiteX12" fmla="*/ 2357442 w 2357441"/>
                  <a:gd name="connsiteY12" fmla="*/ 1101966 h 1209137"/>
                  <a:gd name="connsiteX13" fmla="*/ 2250280 w 2357441"/>
                  <a:gd name="connsiteY13" fmla="*/ 1209128 h 1209137"/>
                  <a:gd name="connsiteX14" fmla="*/ 214342 w 2357441"/>
                  <a:gd name="connsiteY14" fmla="*/ 994825 h 1209137"/>
                  <a:gd name="connsiteX15" fmla="*/ 2143204 w 2357441"/>
                  <a:gd name="connsiteY15" fmla="*/ 994825 h 1209137"/>
                  <a:gd name="connsiteX16" fmla="*/ 2143204 w 2357441"/>
                  <a:gd name="connsiteY16" fmla="*/ 593720 h 1209137"/>
                  <a:gd name="connsiteX17" fmla="*/ 1953648 w 2357441"/>
                  <a:gd name="connsiteY17" fmla="*/ 328472 h 1209137"/>
                  <a:gd name="connsiteX18" fmla="*/ 1649780 w 2357441"/>
                  <a:gd name="connsiteY18" fmla="*/ 224456 h 1209137"/>
                  <a:gd name="connsiteX19" fmla="*/ 1232902 w 2357441"/>
                  <a:gd name="connsiteY19" fmla="*/ 468043 h 1209137"/>
                  <a:gd name="connsiteX20" fmla="*/ 1120009 w 2357441"/>
                  <a:gd name="connsiteY20" fmla="*/ 465096 h 1209137"/>
                  <a:gd name="connsiteX21" fmla="*/ 753959 w 2357441"/>
                  <a:gd name="connsiteY21" fmla="*/ 224723 h 1209137"/>
                  <a:gd name="connsiteX22" fmla="*/ 410295 w 2357441"/>
                  <a:gd name="connsiteY22" fmla="*/ 333373 h 1209137"/>
                  <a:gd name="connsiteX23" fmla="*/ 214391 w 2357441"/>
                  <a:gd name="connsiteY23" fmla="*/ 600688 h 120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57441" h="1209137">
                    <a:moveTo>
                      <a:pt x="2250286" y="1209138"/>
                    </a:moveTo>
                    <a:lnTo>
                      <a:pt x="107161" y="1209138"/>
                    </a:lnTo>
                    <a:cubicBezTo>
                      <a:pt x="47995" y="1209138"/>
                      <a:pt x="0" y="1161147"/>
                      <a:pt x="0" y="1101977"/>
                    </a:cubicBezTo>
                    <a:lnTo>
                      <a:pt x="0" y="600676"/>
                    </a:lnTo>
                    <a:cubicBezTo>
                      <a:pt x="0" y="383914"/>
                      <a:pt x="138884" y="194359"/>
                      <a:pt x="345545" y="128993"/>
                    </a:cubicBezTo>
                    <a:lnTo>
                      <a:pt x="737774" y="5000"/>
                    </a:lnTo>
                    <a:cubicBezTo>
                      <a:pt x="768505" y="-4720"/>
                      <a:pt x="801953" y="-90"/>
                      <a:pt x="828895" y="17592"/>
                    </a:cubicBezTo>
                    <a:lnTo>
                      <a:pt x="1181974" y="249470"/>
                    </a:lnTo>
                    <a:lnTo>
                      <a:pt x="1583853" y="14643"/>
                    </a:lnTo>
                    <a:cubicBezTo>
                      <a:pt x="1610757" y="-1087"/>
                      <a:pt x="1643172" y="-4301"/>
                      <a:pt x="1672602" y="5764"/>
                    </a:cubicBezTo>
                    <a:lnTo>
                      <a:pt x="2022889" y="125661"/>
                    </a:lnTo>
                    <a:cubicBezTo>
                      <a:pt x="2223044" y="194165"/>
                      <a:pt x="2357442" y="382258"/>
                      <a:pt x="2357442" y="593700"/>
                    </a:cubicBezTo>
                    <a:lnTo>
                      <a:pt x="2357442" y="1101966"/>
                    </a:lnTo>
                    <a:cubicBezTo>
                      <a:pt x="2357442" y="1161132"/>
                      <a:pt x="2309451" y="1209128"/>
                      <a:pt x="2250280" y="1209128"/>
                    </a:cubicBezTo>
                    <a:close/>
                    <a:moveTo>
                      <a:pt x="214342" y="994825"/>
                    </a:moveTo>
                    <a:lnTo>
                      <a:pt x="2143204" y="994825"/>
                    </a:lnTo>
                    <a:lnTo>
                      <a:pt x="2143204" y="593720"/>
                    </a:lnTo>
                    <a:cubicBezTo>
                      <a:pt x="2143204" y="473862"/>
                      <a:pt x="2067008" y="367279"/>
                      <a:pt x="1953648" y="328472"/>
                    </a:cubicBezTo>
                    <a:lnTo>
                      <a:pt x="1649780" y="224456"/>
                    </a:lnTo>
                    <a:lnTo>
                      <a:pt x="1232902" y="468043"/>
                    </a:lnTo>
                    <a:cubicBezTo>
                      <a:pt x="1197770" y="488556"/>
                      <a:pt x="1154027" y="487446"/>
                      <a:pt x="1120009" y="465096"/>
                    </a:cubicBezTo>
                    <a:lnTo>
                      <a:pt x="753959" y="224723"/>
                    </a:lnTo>
                    <a:lnTo>
                      <a:pt x="410295" y="333373"/>
                    </a:lnTo>
                    <a:cubicBezTo>
                      <a:pt x="293111" y="370418"/>
                      <a:pt x="214391" y="477842"/>
                      <a:pt x="214391" y="60068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E8D3B2D8-1239-4909-BF4D-A36DA62A8F22}"/>
                  </a:ext>
                </a:extLst>
              </p:cNvPr>
              <p:cNvSpPr/>
              <p:nvPr/>
            </p:nvSpPr>
            <p:spPr>
              <a:xfrm>
                <a:off x="5388768" y="2036017"/>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3 h 642971"/>
                  <a:gd name="connsiteX4" fmla="*/ 107161 w 1501844"/>
                  <a:gd name="connsiteY4" fmla="*/ 4712 h 642971"/>
                  <a:gd name="connsiteX5" fmla="*/ 214322 w 1501844"/>
                  <a:gd name="connsiteY5" fmla="*/ 111873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7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3"/>
                    </a:lnTo>
                    <a:cubicBezTo>
                      <a:pt x="0" y="52708"/>
                      <a:pt x="47990" y="4712"/>
                      <a:pt x="107161" y="4712"/>
                    </a:cubicBezTo>
                    <a:cubicBezTo>
                      <a:pt x="166332" y="4712"/>
                      <a:pt x="214322" y="52703"/>
                      <a:pt x="214322" y="111873"/>
                    </a:cubicBezTo>
                    <a:lnTo>
                      <a:pt x="214322" y="428596"/>
                    </a:lnTo>
                    <a:lnTo>
                      <a:pt x="1287110" y="428596"/>
                    </a:lnTo>
                    <a:lnTo>
                      <a:pt x="1285923" y="107543"/>
                    </a:lnTo>
                    <a:cubicBezTo>
                      <a:pt x="1285694" y="48377"/>
                      <a:pt x="1333493" y="196"/>
                      <a:pt x="1392693" y="0"/>
                    </a:cubicBezTo>
                    <a:lnTo>
                      <a:pt x="1393114" y="0"/>
                    </a:lnTo>
                    <a:cubicBezTo>
                      <a:pt x="1452125" y="0"/>
                      <a:pt x="1500039" y="47723"/>
                      <a:pt x="1500275" y="106769"/>
                    </a:cubicBezTo>
                    <a:lnTo>
                      <a:pt x="1501844" y="535394"/>
                    </a:lnTo>
                    <a:cubicBezTo>
                      <a:pt x="1501958" y="563867"/>
                      <a:pt x="1490707" y="591230"/>
                      <a:pt x="1470615" y="611437"/>
                    </a:cubicBezTo>
                    <a:cubicBezTo>
                      <a:pt x="1450523" y="631605"/>
                      <a:pt x="1423199" y="642972"/>
                      <a:pt x="1394687"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3" name="Freeform: Shape 122">
                <a:extLst>
                  <a:ext uri="{FF2B5EF4-FFF2-40B4-BE49-F238E27FC236}">
                    <a16:creationId xmlns:a16="http://schemas.microsoft.com/office/drawing/2014/main" id="{285F1F2A-386C-45E1-AC15-C05D911A0ACB}"/>
                  </a:ext>
                </a:extLst>
              </p:cNvPr>
              <p:cNvSpPr/>
              <p:nvPr/>
            </p:nvSpPr>
            <p:spPr>
              <a:xfrm>
                <a:off x="5495974" y="107180"/>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4 h 1285875"/>
                  <a:gd name="connsiteX6" fmla="*/ 214313 w 1285875"/>
                  <a:gd name="connsiteY6" fmla="*/ 642889 h 1285875"/>
                  <a:gd name="connsiteX7" fmla="*/ 642938 w 1285875"/>
                  <a:gd name="connsiteY7" fmla="*/ 1071514 h 1285875"/>
                  <a:gd name="connsiteX8" fmla="*/ 1071563 w 1285875"/>
                  <a:gd name="connsiteY8" fmla="*/ 642889 h 1285875"/>
                  <a:gd name="connsiteX9" fmla="*/ 642938 w 1285875"/>
                  <a:gd name="connsiteY9" fmla="*/ 214264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4"/>
                    </a:moveTo>
                    <a:cubicBezTo>
                      <a:pt x="406581" y="214264"/>
                      <a:pt x="214313" y="406532"/>
                      <a:pt x="214313" y="642889"/>
                    </a:cubicBezTo>
                    <a:cubicBezTo>
                      <a:pt x="214313" y="879245"/>
                      <a:pt x="406581" y="1071514"/>
                      <a:pt x="642938" y="1071514"/>
                    </a:cubicBezTo>
                    <a:cubicBezTo>
                      <a:pt x="879294" y="1071514"/>
                      <a:pt x="1071563" y="879245"/>
                      <a:pt x="1071563" y="642889"/>
                    </a:cubicBezTo>
                    <a:cubicBezTo>
                      <a:pt x="1071563" y="406532"/>
                      <a:pt x="879294" y="214264"/>
                      <a:pt x="642938" y="21426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4" name="Freeform: Shape 123">
                <a:extLst>
                  <a:ext uri="{FF2B5EF4-FFF2-40B4-BE49-F238E27FC236}">
                    <a16:creationId xmlns:a16="http://schemas.microsoft.com/office/drawing/2014/main" id="{FF71B8FA-C492-4DF6-8944-0E5D193F6350}"/>
                  </a:ext>
                </a:extLst>
              </p:cNvPr>
              <p:cNvSpPr/>
              <p:nvPr/>
            </p:nvSpPr>
            <p:spPr>
              <a:xfrm>
                <a:off x="6996107" y="857313"/>
                <a:ext cx="1500231" cy="1821617"/>
              </a:xfrm>
              <a:custGeom>
                <a:avLst/>
                <a:gdLst>
                  <a:gd name="connsiteX0" fmla="*/ 1071567 w 1500231"/>
                  <a:gd name="connsiteY0" fmla="*/ 1821617 h 1821617"/>
                  <a:gd name="connsiteX1" fmla="*/ 1021012 w 1500231"/>
                  <a:gd name="connsiteY1" fmla="*/ 1808949 h 1821617"/>
                  <a:gd name="connsiteX2" fmla="*/ 964411 w 1500231"/>
                  <a:gd name="connsiteY2" fmla="*/ 1714461 h 1821617"/>
                  <a:gd name="connsiteX3" fmla="*/ 964411 w 1500231"/>
                  <a:gd name="connsiteY3" fmla="*/ 214322 h 1821617"/>
                  <a:gd name="connsiteX4" fmla="*/ 107161 w 1500231"/>
                  <a:gd name="connsiteY4" fmla="*/ 214322 h 1821617"/>
                  <a:gd name="connsiteX5" fmla="*/ 0 w 1500231"/>
                  <a:gd name="connsiteY5" fmla="*/ 107161 h 1821617"/>
                  <a:gd name="connsiteX6" fmla="*/ 107161 w 1500231"/>
                  <a:gd name="connsiteY6" fmla="*/ 0 h 1821617"/>
                  <a:gd name="connsiteX7" fmla="*/ 1071572 w 1500231"/>
                  <a:gd name="connsiteY7" fmla="*/ 0 h 1821617"/>
                  <a:gd name="connsiteX8" fmla="*/ 1178733 w 1500231"/>
                  <a:gd name="connsiteY8" fmla="*/ 107161 h 1821617"/>
                  <a:gd name="connsiteX9" fmla="*/ 1178733 w 1500231"/>
                  <a:gd name="connsiteY9" fmla="*/ 1514227 h 1821617"/>
                  <a:gd name="connsiteX10" fmla="*/ 1333616 w 1500231"/>
                  <a:gd name="connsiteY10" fmla="*/ 1410975 h 1821617"/>
                  <a:gd name="connsiteX11" fmla="*/ 1482220 w 1500231"/>
                  <a:gd name="connsiteY11" fmla="*/ 1440672 h 1821617"/>
                  <a:gd name="connsiteX12" fmla="*/ 1452522 w 1500231"/>
                  <a:gd name="connsiteY12" fmla="*/ 1589275 h 1821617"/>
                  <a:gd name="connsiteX13" fmla="*/ 1131059 w 1500231"/>
                  <a:gd name="connsiteY13" fmla="*/ 1803587 h 1821617"/>
                  <a:gd name="connsiteX14" fmla="*/ 1071587 w 1500231"/>
                  <a:gd name="connsiteY14" fmla="*/ 1821612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31" h="1821617">
                    <a:moveTo>
                      <a:pt x="1071567" y="1821617"/>
                    </a:moveTo>
                    <a:cubicBezTo>
                      <a:pt x="1054232" y="1821617"/>
                      <a:pt x="1036856" y="1817407"/>
                      <a:pt x="1021012" y="1808949"/>
                    </a:cubicBezTo>
                    <a:cubicBezTo>
                      <a:pt x="986148" y="1790312"/>
                      <a:pt x="964411" y="1753993"/>
                      <a:pt x="964411" y="1714461"/>
                    </a:cubicBezTo>
                    <a:lnTo>
                      <a:pt x="964411" y="214322"/>
                    </a:lnTo>
                    <a:lnTo>
                      <a:pt x="107161" y="214322"/>
                    </a:lnTo>
                    <a:cubicBezTo>
                      <a:pt x="47995" y="214322"/>
                      <a:pt x="0" y="166332"/>
                      <a:pt x="0" y="107161"/>
                    </a:cubicBezTo>
                    <a:cubicBezTo>
                      <a:pt x="0" y="47990"/>
                      <a:pt x="47990" y="0"/>
                      <a:pt x="107161" y="0"/>
                    </a:cubicBezTo>
                    <a:lnTo>
                      <a:pt x="1071572" y="0"/>
                    </a:lnTo>
                    <a:cubicBezTo>
                      <a:pt x="1130738" y="0"/>
                      <a:pt x="1178733" y="47990"/>
                      <a:pt x="1178733" y="107161"/>
                    </a:cubicBezTo>
                    <a:lnTo>
                      <a:pt x="1178733" y="1514227"/>
                    </a:lnTo>
                    <a:lnTo>
                      <a:pt x="1333616" y="1410975"/>
                    </a:lnTo>
                    <a:cubicBezTo>
                      <a:pt x="1382869" y="1378139"/>
                      <a:pt x="1449379" y="1391457"/>
                      <a:pt x="1482220" y="1440672"/>
                    </a:cubicBezTo>
                    <a:cubicBezTo>
                      <a:pt x="1515055" y="1489925"/>
                      <a:pt x="1501738" y="1556435"/>
                      <a:pt x="1452522" y="1589275"/>
                    </a:cubicBezTo>
                    <a:lnTo>
                      <a:pt x="1131059" y="1803587"/>
                    </a:lnTo>
                    <a:cubicBezTo>
                      <a:pt x="1113110" y="1815566"/>
                      <a:pt x="1092368" y="1821612"/>
                      <a:pt x="1071587" y="182161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EA181957-D8E6-420E-9907-04F500E7B2E0}"/>
                  </a:ext>
                </a:extLst>
              </p:cNvPr>
              <p:cNvSpPr/>
              <p:nvPr/>
            </p:nvSpPr>
            <p:spPr>
              <a:xfrm>
                <a:off x="7639036" y="2250271"/>
                <a:ext cx="535808" cy="428660"/>
              </a:xfrm>
              <a:custGeom>
                <a:avLst/>
                <a:gdLst>
                  <a:gd name="connsiteX0" fmla="*/ 428540 w 535808"/>
                  <a:gd name="connsiteY0" fmla="*/ 428660 h 428660"/>
                  <a:gd name="connsiteX1" fmla="*/ 369183 w 535808"/>
                  <a:gd name="connsiteY1" fmla="*/ 410635 h 428660"/>
                  <a:gd name="connsiteX2" fmla="*/ 47719 w 535808"/>
                  <a:gd name="connsiteY2" fmla="*/ 196322 h 428660"/>
                  <a:gd name="connsiteX3" fmla="*/ 18022 w 535808"/>
                  <a:gd name="connsiteY3" fmla="*/ 47719 h 428660"/>
                  <a:gd name="connsiteX4" fmla="*/ 166625 w 535808"/>
                  <a:gd name="connsiteY4" fmla="*/ 18022 h 428660"/>
                  <a:gd name="connsiteX5" fmla="*/ 488089 w 535808"/>
                  <a:gd name="connsiteY5" fmla="*/ 232335 h 428660"/>
                  <a:gd name="connsiteX6" fmla="*/ 517786 w 535808"/>
                  <a:gd name="connsiteY6" fmla="*/ 380938 h 428660"/>
                  <a:gd name="connsiteX7" fmla="*/ 428540 w 535808"/>
                  <a:gd name="connsiteY7" fmla="*/ 428661 h 4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808" h="428660">
                    <a:moveTo>
                      <a:pt x="428540" y="428660"/>
                    </a:moveTo>
                    <a:cubicBezTo>
                      <a:pt x="408104" y="428660"/>
                      <a:pt x="387476" y="422843"/>
                      <a:pt x="369183" y="410635"/>
                    </a:cubicBezTo>
                    <a:lnTo>
                      <a:pt x="47719" y="196322"/>
                    </a:lnTo>
                    <a:cubicBezTo>
                      <a:pt x="-1534" y="163486"/>
                      <a:pt x="-14814" y="96969"/>
                      <a:pt x="18022" y="47719"/>
                    </a:cubicBezTo>
                    <a:cubicBezTo>
                      <a:pt x="50858" y="-1534"/>
                      <a:pt x="117375" y="-14814"/>
                      <a:pt x="166625" y="18022"/>
                    </a:cubicBezTo>
                    <a:lnTo>
                      <a:pt x="488089" y="232335"/>
                    </a:lnTo>
                    <a:cubicBezTo>
                      <a:pt x="537342" y="265171"/>
                      <a:pt x="550622" y="331687"/>
                      <a:pt x="517786" y="380938"/>
                    </a:cubicBezTo>
                    <a:cubicBezTo>
                      <a:pt x="497158" y="411937"/>
                      <a:pt x="463175" y="428661"/>
                      <a:pt x="428540" y="42866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6" name="Freeform: Shape 125">
                <a:extLst>
                  <a:ext uri="{FF2B5EF4-FFF2-40B4-BE49-F238E27FC236}">
                    <a16:creationId xmlns:a16="http://schemas.microsoft.com/office/drawing/2014/main" id="{CA160000-EECE-4BB2-A264-89AC7DDE1290}"/>
                  </a:ext>
                </a:extLst>
              </p:cNvPr>
              <p:cNvSpPr/>
              <p:nvPr/>
            </p:nvSpPr>
            <p:spPr>
              <a:xfrm>
                <a:off x="3674252" y="857317"/>
                <a:ext cx="1500202" cy="1821617"/>
              </a:xfrm>
              <a:custGeom>
                <a:avLst/>
                <a:gdLst>
                  <a:gd name="connsiteX0" fmla="*/ 428616 w 1500202"/>
                  <a:gd name="connsiteY0" fmla="*/ 1821613 h 1821617"/>
                  <a:gd name="connsiteX1" fmla="*/ 369183 w 1500202"/>
                  <a:gd name="connsiteY1" fmla="*/ 1803627 h 1821617"/>
                  <a:gd name="connsiteX2" fmla="*/ 47719 w 1500202"/>
                  <a:gd name="connsiteY2" fmla="*/ 1589314 h 1821617"/>
                  <a:gd name="connsiteX3" fmla="*/ 18022 w 1500202"/>
                  <a:gd name="connsiteY3" fmla="*/ 1440711 h 1821617"/>
                  <a:gd name="connsiteX4" fmla="*/ 166625 w 1500202"/>
                  <a:gd name="connsiteY4" fmla="*/ 1411014 h 1821617"/>
                  <a:gd name="connsiteX5" fmla="*/ 321469 w 1500202"/>
                  <a:gd name="connsiteY5" fmla="*/ 1514227 h 1821617"/>
                  <a:gd name="connsiteX6" fmla="*/ 321469 w 1500202"/>
                  <a:gd name="connsiteY6" fmla="*/ 107161 h 1821617"/>
                  <a:gd name="connsiteX7" fmla="*/ 428630 w 1500202"/>
                  <a:gd name="connsiteY7" fmla="*/ 0 h 1821617"/>
                  <a:gd name="connsiteX8" fmla="*/ 1393041 w 1500202"/>
                  <a:gd name="connsiteY8" fmla="*/ 0 h 1821617"/>
                  <a:gd name="connsiteX9" fmla="*/ 1500202 w 1500202"/>
                  <a:gd name="connsiteY9" fmla="*/ 107161 h 1821617"/>
                  <a:gd name="connsiteX10" fmla="*/ 1393041 w 1500202"/>
                  <a:gd name="connsiteY10" fmla="*/ 214322 h 1821617"/>
                  <a:gd name="connsiteX11" fmla="*/ 535791 w 1500202"/>
                  <a:gd name="connsiteY11" fmla="*/ 214322 h 1821617"/>
                  <a:gd name="connsiteX12" fmla="*/ 535791 w 1500202"/>
                  <a:gd name="connsiteY12" fmla="*/ 1714461 h 1821617"/>
                  <a:gd name="connsiteX13" fmla="*/ 479190 w 1500202"/>
                  <a:gd name="connsiteY13" fmla="*/ 1808949 h 1821617"/>
                  <a:gd name="connsiteX14" fmla="*/ 428635 w 1500202"/>
                  <a:gd name="connsiteY14" fmla="*/ 1821617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02" h="1821617">
                    <a:moveTo>
                      <a:pt x="428616" y="1821613"/>
                    </a:moveTo>
                    <a:cubicBezTo>
                      <a:pt x="407836" y="1821613"/>
                      <a:pt x="387093" y="1815567"/>
                      <a:pt x="369183" y="1803627"/>
                    </a:cubicBezTo>
                    <a:lnTo>
                      <a:pt x="47719" y="1589314"/>
                    </a:lnTo>
                    <a:cubicBezTo>
                      <a:pt x="-1534" y="1556478"/>
                      <a:pt x="-14814" y="1489961"/>
                      <a:pt x="18022" y="1440711"/>
                    </a:cubicBezTo>
                    <a:cubicBezTo>
                      <a:pt x="50858" y="1391458"/>
                      <a:pt x="117375" y="1378178"/>
                      <a:pt x="166625" y="1411014"/>
                    </a:cubicBezTo>
                    <a:lnTo>
                      <a:pt x="321469" y="1514227"/>
                    </a:lnTo>
                    <a:lnTo>
                      <a:pt x="321469" y="107161"/>
                    </a:lnTo>
                    <a:cubicBezTo>
                      <a:pt x="321469" y="47995"/>
                      <a:pt x="369459" y="0"/>
                      <a:pt x="428630" y="0"/>
                    </a:cubicBezTo>
                    <a:lnTo>
                      <a:pt x="1393041" y="0"/>
                    </a:lnTo>
                    <a:cubicBezTo>
                      <a:pt x="1452207" y="0"/>
                      <a:pt x="1500202" y="47990"/>
                      <a:pt x="1500202" y="107161"/>
                    </a:cubicBezTo>
                    <a:cubicBezTo>
                      <a:pt x="1500202" y="166332"/>
                      <a:pt x="1452212" y="214322"/>
                      <a:pt x="1393041" y="214322"/>
                    </a:cubicBezTo>
                    <a:lnTo>
                      <a:pt x="535791" y="214322"/>
                    </a:lnTo>
                    <a:lnTo>
                      <a:pt x="535791" y="1714461"/>
                    </a:lnTo>
                    <a:cubicBezTo>
                      <a:pt x="535791" y="1753994"/>
                      <a:pt x="514053" y="1790312"/>
                      <a:pt x="479190" y="1808949"/>
                    </a:cubicBezTo>
                    <a:cubicBezTo>
                      <a:pt x="463346" y="1817407"/>
                      <a:pt x="445972" y="1821617"/>
                      <a:pt x="428635" y="182161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BBE19C90-5F4E-4617-976C-676375394418}"/>
                  </a:ext>
                </a:extLst>
              </p:cNvPr>
              <p:cNvSpPr/>
              <p:nvPr/>
            </p:nvSpPr>
            <p:spPr>
              <a:xfrm>
                <a:off x="3995708" y="2250280"/>
                <a:ext cx="535788" cy="428650"/>
              </a:xfrm>
              <a:custGeom>
                <a:avLst/>
                <a:gdLst>
                  <a:gd name="connsiteX0" fmla="*/ 107258 w 535788"/>
                  <a:gd name="connsiteY0" fmla="*/ 428651 h 428650"/>
                  <a:gd name="connsiteX1" fmla="*/ 18012 w 535788"/>
                  <a:gd name="connsiteY1" fmla="*/ 380928 h 428650"/>
                  <a:gd name="connsiteX2" fmla="*/ 47709 w 535788"/>
                  <a:gd name="connsiteY2" fmla="*/ 232325 h 428650"/>
                  <a:gd name="connsiteX3" fmla="*/ 369173 w 535788"/>
                  <a:gd name="connsiteY3" fmla="*/ 18012 h 428650"/>
                  <a:gd name="connsiteX4" fmla="*/ 517776 w 535788"/>
                  <a:gd name="connsiteY4" fmla="*/ 47709 h 428650"/>
                  <a:gd name="connsiteX5" fmla="*/ 488079 w 535788"/>
                  <a:gd name="connsiteY5" fmla="*/ 196312 h 428650"/>
                  <a:gd name="connsiteX6" fmla="*/ 166615 w 535788"/>
                  <a:gd name="connsiteY6" fmla="*/ 410625 h 428650"/>
                  <a:gd name="connsiteX7" fmla="*/ 107258 w 535788"/>
                  <a:gd name="connsiteY7" fmla="*/ 428650 h 4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788" h="428650">
                    <a:moveTo>
                      <a:pt x="107258" y="428651"/>
                    </a:moveTo>
                    <a:cubicBezTo>
                      <a:pt x="72624" y="428651"/>
                      <a:pt x="38640" y="411889"/>
                      <a:pt x="18012" y="380928"/>
                    </a:cubicBezTo>
                    <a:cubicBezTo>
                      <a:pt x="-14824" y="331675"/>
                      <a:pt x="-1506" y="265165"/>
                      <a:pt x="47709" y="232325"/>
                    </a:cubicBezTo>
                    <a:lnTo>
                      <a:pt x="369173" y="18012"/>
                    </a:lnTo>
                    <a:cubicBezTo>
                      <a:pt x="418426" y="-14824"/>
                      <a:pt x="484936" y="-1506"/>
                      <a:pt x="517776" y="47709"/>
                    </a:cubicBezTo>
                    <a:cubicBezTo>
                      <a:pt x="550612" y="96962"/>
                      <a:pt x="537294" y="163472"/>
                      <a:pt x="488079" y="196312"/>
                    </a:cubicBezTo>
                    <a:lnTo>
                      <a:pt x="166615" y="410625"/>
                    </a:lnTo>
                    <a:cubicBezTo>
                      <a:pt x="148322" y="422833"/>
                      <a:pt x="127656" y="428650"/>
                      <a:pt x="107258" y="4286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8" name="Freeform: Shape 127">
                <a:extLst>
                  <a:ext uri="{FF2B5EF4-FFF2-40B4-BE49-F238E27FC236}">
                    <a16:creationId xmlns:a16="http://schemas.microsoft.com/office/drawing/2014/main" id="{1689D1B4-5B6B-469C-9AC3-F2141AE10A87}"/>
                  </a:ext>
                </a:extLst>
              </p:cNvPr>
              <p:cNvSpPr/>
              <p:nvPr/>
            </p:nvSpPr>
            <p:spPr>
              <a:xfrm>
                <a:off x="5603105" y="5143539"/>
                <a:ext cx="964411" cy="214322"/>
              </a:xfrm>
              <a:custGeom>
                <a:avLst/>
                <a:gdLst>
                  <a:gd name="connsiteX0" fmla="*/ 857250 w 964411"/>
                  <a:gd name="connsiteY0" fmla="*/ 214322 h 214322"/>
                  <a:gd name="connsiteX1" fmla="*/ 107161 w 964411"/>
                  <a:gd name="connsiteY1" fmla="*/ 214322 h 214322"/>
                  <a:gd name="connsiteX2" fmla="*/ 0 w 964411"/>
                  <a:gd name="connsiteY2" fmla="*/ 107161 h 214322"/>
                  <a:gd name="connsiteX3" fmla="*/ 107161 w 964411"/>
                  <a:gd name="connsiteY3" fmla="*/ 0 h 214322"/>
                  <a:gd name="connsiteX4" fmla="*/ 857250 w 964411"/>
                  <a:gd name="connsiteY4" fmla="*/ 0 h 214322"/>
                  <a:gd name="connsiteX5" fmla="*/ 964411 w 964411"/>
                  <a:gd name="connsiteY5" fmla="*/ 107161 h 214322"/>
                  <a:gd name="connsiteX6" fmla="*/ 857250 w 964411"/>
                  <a:gd name="connsiteY6" fmla="*/ 214322 h 2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11" h="214322">
                    <a:moveTo>
                      <a:pt x="857250" y="214322"/>
                    </a:moveTo>
                    <a:lnTo>
                      <a:pt x="107161" y="214322"/>
                    </a:lnTo>
                    <a:cubicBezTo>
                      <a:pt x="47995" y="214322"/>
                      <a:pt x="0" y="166332"/>
                      <a:pt x="0" y="107161"/>
                    </a:cubicBezTo>
                    <a:cubicBezTo>
                      <a:pt x="0" y="47990"/>
                      <a:pt x="47990" y="0"/>
                      <a:pt x="107161" y="0"/>
                    </a:cubicBezTo>
                    <a:lnTo>
                      <a:pt x="857250" y="0"/>
                    </a:lnTo>
                    <a:cubicBezTo>
                      <a:pt x="916416" y="0"/>
                      <a:pt x="964411" y="47990"/>
                      <a:pt x="964411" y="107161"/>
                    </a:cubicBezTo>
                    <a:cubicBezTo>
                      <a:pt x="964411" y="166332"/>
                      <a:pt x="916421" y="214322"/>
                      <a:pt x="857250" y="21432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9" name="Freeform: Shape 128">
                <a:extLst>
                  <a:ext uri="{FF2B5EF4-FFF2-40B4-BE49-F238E27FC236}">
                    <a16:creationId xmlns:a16="http://schemas.microsoft.com/office/drawing/2014/main" id="{D17188FF-6ECD-439A-8D96-76B71F1229EC}"/>
                  </a:ext>
                </a:extLst>
              </p:cNvPr>
              <p:cNvSpPr/>
              <p:nvPr/>
            </p:nvSpPr>
            <p:spPr>
              <a:xfrm>
                <a:off x="5495974" y="2893194"/>
                <a:ext cx="1285884" cy="1285884"/>
              </a:xfrm>
              <a:custGeom>
                <a:avLst/>
                <a:gdLst>
                  <a:gd name="connsiteX0" fmla="*/ 642938 w 1285884"/>
                  <a:gd name="connsiteY0" fmla="*/ 1285875 h 1285884"/>
                  <a:gd name="connsiteX1" fmla="*/ 0 w 1285884"/>
                  <a:gd name="connsiteY1" fmla="*/ 642938 h 1285884"/>
                  <a:gd name="connsiteX2" fmla="*/ 642938 w 1285884"/>
                  <a:gd name="connsiteY2" fmla="*/ 0 h 1285884"/>
                  <a:gd name="connsiteX3" fmla="*/ 750099 w 1285884"/>
                  <a:gd name="connsiteY3" fmla="*/ 107161 h 1285884"/>
                  <a:gd name="connsiteX4" fmla="*/ 642938 w 1285884"/>
                  <a:gd name="connsiteY4" fmla="*/ 214322 h 1285884"/>
                  <a:gd name="connsiteX5" fmla="*/ 214313 w 1285884"/>
                  <a:gd name="connsiteY5" fmla="*/ 642947 h 1285884"/>
                  <a:gd name="connsiteX6" fmla="*/ 642938 w 1285884"/>
                  <a:gd name="connsiteY6" fmla="*/ 1071572 h 1285884"/>
                  <a:gd name="connsiteX7" fmla="*/ 1071563 w 1285884"/>
                  <a:gd name="connsiteY7" fmla="*/ 642947 h 1285884"/>
                  <a:gd name="connsiteX8" fmla="*/ 1178724 w 1285884"/>
                  <a:gd name="connsiteY8" fmla="*/ 535786 h 1285884"/>
                  <a:gd name="connsiteX9" fmla="*/ 1285885 w 1285884"/>
                  <a:gd name="connsiteY9" fmla="*/ 642947 h 1285884"/>
                  <a:gd name="connsiteX10" fmla="*/ 642947 w 1285884"/>
                  <a:gd name="connsiteY10" fmla="*/ 1285885 h 128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5884" h="1285884">
                    <a:moveTo>
                      <a:pt x="642938" y="1285875"/>
                    </a:moveTo>
                    <a:cubicBezTo>
                      <a:pt x="288398" y="1285875"/>
                      <a:pt x="0" y="997467"/>
                      <a:pt x="0" y="642938"/>
                    </a:cubicBezTo>
                    <a:cubicBezTo>
                      <a:pt x="0" y="288408"/>
                      <a:pt x="288408" y="0"/>
                      <a:pt x="642938" y="0"/>
                    </a:cubicBezTo>
                    <a:cubicBezTo>
                      <a:pt x="702103" y="0"/>
                      <a:pt x="750099" y="47990"/>
                      <a:pt x="750099" y="107161"/>
                    </a:cubicBezTo>
                    <a:cubicBezTo>
                      <a:pt x="750099" y="166332"/>
                      <a:pt x="702108" y="214322"/>
                      <a:pt x="642938" y="214322"/>
                    </a:cubicBezTo>
                    <a:cubicBezTo>
                      <a:pt x="406581" y="214322"/>
                      <a:pt x="214313" y="406591"/>
                      <a:pt x="214313" y="642947"/>
                    </a:cubicBezTo>
                    <a:cubicBezTo>
                      <a:pt x="214313" y="879303"/>
                      <a:pt x="406581" y="1071572"/>
                      <a:pt x="642938" y="1071572"/>
                    </a:cubicBezTo>
                    <a:cubicBezTo>
                      <a:pt x="879294" y="1071572"/>
                      <a:pt x="1071563" y="879303"/>
                      <a:pt x="1071563" y="642947"/>
                    </a:cubicBezTo>
                    <a:cubicBezTo>
                      <a:pt x="1071563" y="583782"/>
                      <a:pt x="1119553" y="535786"/>
                      <a:pt x="1178724" y="535786"/>
                    </a:cubicBezTo>
                    <a:cubicBezTo>
                      <a:pt x="1237895" y="535786"/>
                      <a:pt x="1285885" y="583776"/>
                      <a:pt x="1285885" y="642947"/>
                    </a:cubicBezTo>
                    <a:cubicBezTo>
                      <a:pt x="1285885" y="997486"/>
                      <a:pt x="997476" y="1285885"/>
                      <a:pt x="642947" y="128588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0" name="Freeform: Shape 129">
                <a:extLst>
                  <a:ext uri="{FF2B5EF4-FFF2-40B4-BE49-F238E27FC236}">
                    <a16:creationId xmlns:a16="http://schemas.microsoft.com/office/drawing/2014/main" id="{CBBB9840-7990-4B7C-94A7-207F07C3F69D}"/>
                  </a:ext>
                </a:extLst>
              </p:cNvPr>
              <p:cNvSpPr/>
              <p:nvPr/>
            </p:nvSpPr>
            <p:spPr>
              <a:xfrm>
                <a:off x="5817452" y="3000362"/>
                <a:ext cx="964394" cy="750091"/>
              </a:xfrm>
              <a:custGeom>
                <a:avLst/>
                <a:gdLst>
                  <a:gd name="connsiteX0" fmla="*/ 321459 w 964394"/>
                  <a:gd name="connsiteY0" fmla="*/ 750081 h 750091"/>
                  <a:gd name="connsiteX1" fmla="*/ 245684 w 964394"/>
                  <a:gd name="connsiteY1" fmla="*/ 718700 h 750091"/>
                  <a:gd name="connsiteX2" fmla="*/ 31372 w 964394"/>
                  <a:gd name="connsiteY2" fmla="*/ 504388 h 750091"/>
                  <a:gd name="connsiteX3" fmla="*/ 31372 w 964394"/>
                  <a:gd name="connsiteY3" fmla="*/ 352836 h 750091"/>
                  <a:gd name="connsiteX4" fmla="*/ 182924 w 964394"/>
                  <a:gd name="connsiteY4" fmla="*/ 352836 h 750091"/>
                  <a:gd name="connsiteX5" fmla="*/ 321465 w 964394"/>
                  <a:gd name="connsiteY5" fmla="*/ 491377 h 750091"/>
                  <a:gd name="connsiteX6" fmla="*/ 781470 w 964394"/>
                  <a:gd name="connsiteY6" fmla="*/ 31372 h 750091"/>
                  <a:gd name="connsiteX7" fmla="*/ 933022 w 964394"/>
                  <a:gd name="connsiteY7" fmla="*/ 31372 h 750091"/>
                  <a:gd name="connsiteX8" fmla="*/ 933022 w 964394"/>
                  <a:gd name="connsiteY8" fmla="*/ 182924 h 750091"/>
                  <a:gd name="connsiteX9" fmla="*/ 397236 w 964394"/>
                  <a:gd name="connsiteY9" fmla="*/ 718710 h 750091"/>
                  <a:gd name="connsiteX10" fmla="*/ 321461 w 964394"/>
                  <a:gd name="connsiteY10" fmla="*/ 750091 h 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94" h="750091">
                    <a:moveTo>
                      <a:pt x="321459" y="750081"/>
                    </a:moveTo>
                    <a:cubicBezTo>
                      <a:pt x="294019" y="750081"/>
                      <a:pt x="266618" y="739595"/>
                      <a:pt x="245684" y="718700"/>
                    </a:cubicBezTo>
                    <a:lnTo>
                      <a:pt x="31372" y="504388"/>
                    </a:lnTo>
                    <a:cubicBezTo>
                      <a:pt x="-10457" y="462559"/>
                      <a:pt x="-10457" y="394709"/>
                      <a:pt x="31372" y="352836"/>
                    </a:cubicBezTo>
                    <a:cubicBezTo>
                      <a:pt x="73201" y="311007"/>
                      <a:pt x="141051" y="311007"/>
                      <a:pt x="182924" y="352836"/>
                    </a:cubicBezTo>
                    <a:lnTo>
                      <a:pt x="321465" y="491377"/>
                    </a:lnTo>
                    <a:lnTo>
                      <a:pt x="781470" y="31372"/>
                    </a:lnTo>
                    <a:cubicBezTo>
                      <a:pt x="823337" y="-10457"/>
                      <a:pt x="891149" y="-10457"/>
                      <a:pt x="933022" y="31372"/>
                    </a:cubicBezTo>
                    <a:cubicBezTo>
                      <a:pt x="974851" y="73201"/>
                      <a:pt x="974851" y="141051"/>
                      <a:pt x="933022" y="182924"/>
                    </a:cubicBezTo>
                    <a:lnTo>
                      <a:pt x="397236" y="718710"/>
                    </a:lnTo>
                    <a:cubicBezTo>
                      <a:pt x="376303" y="739605"/>
                      <a:pt x="348901" y="750091"/>
                      <a:pt x="321461" y="75009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pic>
          <p:nvPicPr>
            <p:cNvPr id="61" name="Graphic 60" descr="Rocket outline">
              <a:extLst>
                <a:ext uri="{FF2B5EF4-FFF2-40B4-BE49-F238E27FC236}">
                  <a16:creationId xmlns:a16="http://schemas.microsoft.com/office/drawing/2014/main" id="{14E5B382-C7DC-4CD2-A265-CB3186DE2F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08142" y="3204488"/>
              <a:ext cx="504000" cy="504000"/>
            </a:xfrm>
            <a:prstGeom prst="rect">
              <a:avLst/>
            </a:prstGeom>
          </p:spPr>
        </p:pic>
        <p:grpSp>
          <p:nvGrpSpPr>
            <p:cNvPr id="62" name="Group 61">
              <a:extLst>
                <a:ext uri="{FF2B5EF4-FFF2-40B4-BE49-F238E27FC236}">
                  <a16:creationId xmlns:a16="http://schemas.microsoft.com/office/drawing/2014/main" id="{B588F5D2-EC8B-4D1F-90EE-4ADFBD1311A1}"/>
                </a:ext>
              </a:extLst>
            </p:cNvPr>
            <p:cNvGrpSpPr/>
            <p:nvPr/>
          </p:nvGrpSpPr>
          <p:grpSpPr>
            <a:xfrm>
              <a:off x="1428350" y="849252"/>
              <a:ext cx="703079" cy="1056070"/>
              <a:chOff x="1428350" y="849252"/>
              <a:chExt cx="703079" cy="1056070"/>
            </a:xfrm>
          </p:grpSpPr>
          <p:sp>
            <p:nvSpPr>
              <p:cNvPr id="110" name="Freeform 30">
                <a:extLst>
                  <a:ext uri="{FF2B5EF4-FFF2-40B4-BE49-F238E27FC236}">
                    <a16:creationId xmlns:a16="http://schemas.microsoft.com/office/drawing/2014/main" id="{73617F26-D8F9-4DFF-8648-515533BB2C59}"/>
                  </a:ext>
                </a:extLst>
              </p:cNvPr>
              <p:cNvSpPr>
                <a:spLocks noChangeArrowheads="1"/>
              </p:cNvSpPr>
              <p:nvPr/>
            </p:nvSpPr>
            <p:spPr bwMode="auto">
              <a:xfrm>
                <a:off x="1428350" y="849252"/>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grpSp>
            <p:nvGrpSpPr>
              <p:cNvPr id="111" name="Group 110">
                <a:extLst>
                  <a:ext uri="{FF2B5EF4-FFF2-40B4-BE49-F238E27FC236}">
                    <a16:creationId xmlns:a16="http://schemas.microsoft.com/office/drawing/2014/main" id="{8F9E15FA-FF42-4EE6-A0FD-CB77B8A37826}"/>
                  </a:ext>
                </a:extLst>
              </p:cNvPr>
              <p:cNvGrpSpPr/>
              <p:nvPr/>
            </p:nvGrpSpPr>
            <p:grpSpPr>
              <a:xfrm>
                <a:off x="1601743" y="1001188"/>
                <a:ext cx="360000" cy="360000"/>
                <a:chOff x="2031331" y="4265158"/>
                <a:chExt cx="432000" cy="432000"/>
              </a:xfrm>
            </p:grpSpPr>
            <p:sp>
              <p:nvSpPr>
                <p:cNvPr id="113" name="Flowchart: Connector 112">
                  <a:extLst>
                    <a:ext uri="{FF2B5EF4-FFF2-40B4-BE49-F238E27FC236}">
                      <a16:creationId xmlns:a16="http://schemas.microsoft.com/office/drawing/2014/main" id="{75A22F29-AF61-4A31-AE32-90F5701A25F4}"/>
                    </a:ext>
                  </a:extLst>
                </p:cNvPr>
                <p:cNvSpPr/>
                <p:nvPr/>
              </p:nvSpPr>
              <p:spPr>
                <a:xfrm>
                  <a:off x="2031331" y="4265158"/>
                  <a:ext cx="432000" cy="432000"/>
                </a:xfrm>
                <a:prstGeom prst="flowChartConnector">
                  <a:avLst/>
                </a:prstGeom>
                <a:solidFill>
                  <a:srgbClr val="92D050"/>
                </a:solid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4" name="Graphic 113" descr="Checkmark with solid fill">
                  <a:extLst>
                    <a:ext uri="{FF2B5EF4-FFF2-40B4-BE49-F238E27FC236}">
                      <a16:creationId xmlns:a16="http://schemas.microsoft.com/office/drawing/2014/main" id="{DAF79653-3762-4AD2-8828-A4FC10DB4FD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87779" y="4301158"/>
                  <a:ext cx="360000" cy="360000"/>
                </a:xfrm>
                <a:prstGeom prst="rect">
                  <a:avLst/>
                </a:prstGeom>
              </p:spPr>
            </p:pic>
          </p:grpSp>
          <p:sp>
            <p:nvSpPr>
              <p:cNvPr id="112" name="Rectangle 111">
                <a:extLst>
                  <a:ext uri="{FF2B5EF4-FFF2-40B4-BE49-F238E27FC236}">
                    <a16:creationId xmlns:a16="http://schemas.microsoft.com/office/drawing/2014/main" id="{F4C596FA-1526-4C15-BCF2-243A8FD922E9}"/>
                  </a:ext>
                </a:extLst>
              </p:cNvPr>
              <p:cNvSpPr/>
              <p:nvPr/>
            </p:nvSpPr>
            <p:spPr>
              <a:xfrm>
                <a:off x="1603136" y="1432171"/>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grpSp>
        <p:grpSp>
          <p:nvGrpSpPr>
            <p:cNvPr id="63" name="Group 62">
              <a:extLst>
                <a:ext uri="{FF2B5EF4-FFF2-40B4-BE49-F238E27FC236}">
                  <a16:creationId xmlns:a16="http://schemas.microsoft.com/office/drawing/2014/main" id="{107454E3-D963-41BC-A121-E243135BAA85}"/>
                </a:ext>
              </a:extLst>
            </p:cNvPr>
            <p:cNvGrpSpPr/>
            <p:nvPr/>
          </p:nvGrpSpPr>
          <p:grpSpPr>
            <a:xfrm>
              <a:off x="7436204" y="1372400"/>
              <a:ext cx="703079" cy="1056070"/>
              <a:chOff x="7436204" y="1372400"/>
              <a:chExt cx="703079" cy="1056070"/>
            </a:xfrm>
          </p:grpSpPr>
          <p:sp>
            <p:nvSpPr>
              <p:cNvPr id="105" name="Freeform 30">
                <a:extLst>
                  <a:ext uri="{FF2B5EF4-FFF2-40B4-BE49-F238E27FC236}">
                    <a16:creationId xmlns:a16="http://schemas.microsoft.com/office/drawing/2014/main" id="{773ACAFF-5178-4CC3-8612-57B0FFB819A7}"/>
                  </a:ext>
                </a:extLst>
              </p:cNvPr>
              <p:cNvSpPr>
                <a:spLocks noChangeArrowheads="1"/>
              </p:cNvSpPr>
              <p:nvPr/>
            </p:nvSpPr>
            <p:spPr bwMode="auto">
              <a:xfrm>
                <a:off x="7436204" y="1372400"/>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grpSp>
            <p:nvGrpSpPr>
              <p:cNvPr id="106" name="Group 105">
                <a:extLst>
                  <a:ext uri="{FF2B5EF4-FFF2-40B4-BE49-F238E27FC236}">
                    <a16:creationId xmlns:a16="http://schemas.microsoft.com/office/drawing/2014/main" id="{4C1843C0-D63C-4679-99F2-365F67C0C7C3}"/>
                  </a:ext>
                </a:extLst>
              </p:cNvPr>
              <p:cNvGrpSpPr/>
              <p:nvPr/>
            </p:nvGrpSpPr>
            <p:grpSpPr>
              <a:xfrm>
                <a:off x="7607743" y="1524130"/>
                <a:ext cx="360000" cy="360000"/>
                <a:chOff x="3451706" y="4705464"/>
                <a:chExt cx="432000" cy="432000"/>
              </a:xfrm>
            </p:grpSpPr>
            <p:sp>
              <p:nvSpPr>
                <p:cNvPr id="108" name="Flowchart: Connector 107">
                  <a:extLst>
                    <a:ext uri="{FF2B5EF4-FFF2-40B4-BE49-F238E27FC236}">
                      <a16:creationId xmlns:a16="http://schemas.microsoft.com/office/drawing/2014/main" id="{D1937D90-0664-4F29-8B64-77DDE329319F}"/>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Graphic 108" descr="Mining tools with solid fill">
                  <a:extLst>
                    <a:ext uri="{FF2B5EF4-FFF2-40B4-BE49-F238E27FC236}">
                      <a16:creationId xmlns:a16="http://schemas.microsoft.com/office/drawing/2014/main" id="{A990B78F-590A-4B4E-9CDD-BFE25FCCA9F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87459" y="4741464"/>
                  <a:ext cx="360000" cy="360000"/>
                </a:xfrm>
                <a:prstGeom prst="rect">
                  <a:avLst/>
                </a:prstGeom>
              </p:spPr>
            </p:pic>
          </p:grpSp>
          <p:sp>
            <p:nvSpPr>
              <p:cNvPr id="107" name="Rectangle 106">
                <a:extLst>
                  <a:ext uri="{FF2B5EF4-FFF2-40B4-BE49-F238E27FC236}">
                    <a16:creationId xmlns:a16="http://schemas.microsoft.com/office/drawing/2014/main" id="{4654C284-E39E-4E3F-B6A6-CFFA77CB031B}"/>
                  </a:ext>
                </a:extLst>
              </p:cNvPr>
              <p:cNvSpPr/>
              <p:nvPr/>
            </p:nvSpPr>
            <p:spPr>
              <a:xfrm>
                <a:off x="7610461" y="1930555"/>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3</a:t>
                </a:r>
              </a:p>
            </p:txBody>
          </p:sp>
        </p:grpSp>
        <p:grpSp>
          <p:nvGrpSpPr>
            <p:cNvPr id="64" name="Group 63">
              <a:extLst>
                <a:ext uri="{FF2B5EF4-FFF2-40B4-BE49-F238E27FC236}">
                  <a16:creationId xmlns:a16="http://schemas.microsoft.com/office/drawing/2014/main" id="{A9006540-AF4F-4298-89A3-3FA5AE939FC7}"/>
                </a:ext>
              </a:extLst>
            </p:cNvPr>
            <p:cNvGrpSpPr/>
            <p:nvPr/>
          </p:nvGrpSpPr>
          <p:grpSpPr>
            <a:xfrm>
              <a:off x="4365767" y="2519342"/>
              <a:ext cx="703079" cy="1056070"/>
              <a:chOff x="4365767" y="2519342"/>
              <a:chExt cx="703079" cy="1056070"/>
            </a:xfrm>
          </p:grpSpPr>
          <p:sp>
            <p:nvSpPr>
              <p:cNvPr id="100" name="Freeform 31">
                <a:extLst>
                  <a:ext uri="{FF2B5EF4-FFF2-40B4-BE49-F238E27FC236}">
                    <a16:creationId xmlns:a16="http://schemas.microsoft.com/office/drawing/2014/main" id="{2695BD5E-0200-4A3D-924C-43E8E47ACCEF}"/>
                  </a:ext>
                </a:extLst>
              </p:cNvPr>
              <p:cNvSpPr>
                <a:spLocks noChangeArrowheads="1"/>
              </p:cNvSpPr>
              <p:nvPr/>
            </p:nvSpPr>
            <p:spPr bwMode="auto">
              <a:xfrm>
                <a:off x="4365767" y="2519342"/>
                <a:ext cx="703079" cy="1056070"/>
              </a:xfrm>
              <a:custGeom>
                <a:avLst/>
                <a:gdLst>
                  <a:gd name="T0" fmla="*/ 589 w 1180"/>
                  <a:gd name="T1" fmla="*/ 932 h 1922"/>
                  <a:gd name="T2" fmla="*/ 589 w 1180"/>
                  <a:gd name="T3" fmla="*/ 932 h 1922"/>
                  <a:gd name="T4" fmla="*/ 288 w 1180"/>
                  <a:gd name="T5" fmla="*/ 631 h 1922"/>
                  <a:gd name="T6" fmla="*/ 288 w 1180"/>
                  <a:gd name="T7" fmla="*/ 631 h 1922"/>
                  <a:gd name="T8" fmla="*/ 589 w 1180"/>
                  <a:gd name="T9" fmla="*/ 332 h 1922"/>
                  <a:gd name="T10" fmla="*/ 589 w 1180"/>
                  <a:gd name="T11" fmla="*/ 332 h 1922"/>
                  <a:gd name="T12" fmla="*/ 890 w 1180"/>
                  <a:gd name="T13" fmla="*/ 631 h 1922"/>
                  <a:gd name="T14" fmla="*/ 890 w 1180"/>
                  <a:gd name="T15" fmla="*/ 631 h 1922"/>
                  <a:gd name="T16" fmla="*/ 589 w 1180"/>
                  <a:gd name="T17" fmla="*/ 932 h 1922"/>
                  <a:gd name="T18" fmla="*/ 589 w 1180"/>
                  <a:gd name="T19" fmla="*/ 0 h 1922"/>
                  <a:gd name="T20" fmla="*/ 589 w 1180"/>
                  <a:gd name="T21" fmla="*/ 0 h 1922"/>
                  <a:gd name="T22" fmla="*/ 0 w 1180"/>
                  <a:gd name="T23" fmla="*/ 589 h 1922"/>
                  <a:gd name="T24" fmla="*/ 0 w 1180"/>
                  <a:gd name="T25" fmla="*/ 589 h 1922"/>
                  <a:gd name="T26" fmla="*/ 589 w 1180"/>
                  <a:gd name="T27" fmla="*/ 1921 h 1922"/>
                  <a:gd name="T28" fmla="*/ 589 w 1180"/>
                  <a:gd name="T29" fmla="*/ 1921 h 1922"/>
                  <a:gd name="T30" fmla="*/ 1179 w 1180"/>
                  <a:gd name="T31" fmla="*/ 589 h 1922"/>
                  <a:gd name="T32" fmla="*/ 1179 w 1180"/>
                  <a:gd name="T33" fmla="*/ 589 h 1922"/>
                  <a:gd name="T34" fmla="*/ 589 w 1180"/>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0" h="1922">
                    <a:moveTo>
                      <a:pt x="589" y="932"/>
                    </a:moveTo>
                    <a:lnTo>
                      <a:pt x="589" y="932"/>
                    </a:lnTo>
                    <a:cubicBezTo>
                      <a:pt x="423" y="932"/>
                      <a:pt x="288" y="797"/>
                      <a:pt x="288" y="631"/>
                    </a:cubicBezTo>
                    <a:lnTo>
                      <a:pt x="288" y="631"/>
                    </a:lnTo>
                    <a:cubicBezTo>
                      <a:pt x="288" y="466"/>
                      <a:pt x="423" y="332"/>
                      <a:pt x="589" y="332"/>
                    </a:cubicBezTo>
                    <a:lnTo>
                      <a:pt x="589" y="332"/>
                    </a:lnTo>
                    <a:cubicBezTo>
                      <a:pt x="756" y="332"/>
                      <a:pt x="890" y="466"/>
                      <a:pt x="890" y="631"/>
                    </a:cubicBezTo>
                    <a:lnTo>
                      <a:pt x="890" y="631"/>
                    </a:lnTo>
                    <a:cubicBezTo>
                      <a:pt x="890" y="797"/>
                      <a:pt x="756" y="932"/>
                      <a:pt x="589" y="932"/>
                    </a:cubicBezTo>
                    <a:close/>
                    <a:moveTo>
                      <a:pt x="589" y="0"/>
                    </a:moveTo>
                    <a:lnTo>
                      <a:pt x="589" y="0"/>
                    </a:lnTo>
                    <a:cubicBezTo>
                      <a:pt x="264" y="0"/>
                      <a:pt x="0" y="264"/>
                      <a:pt x="0" y="589"/>
                    </a:cubicBezTo>
                    <a:lnTo>
                      <a:pt x="0" y="589"/>
                    </a:lnTo>
                    <a:cubicBezTo>
                      <a:pt x="0" y="914"/>
                      <a:pt x="589" y="1921"/>
                      <a:pt x="589" y="1921"/>
                    </a:cubicBezTo>
                    <a:lnTo>
                      <a:pt x="589" y="1921"/>
                    </a:lnTo>
                    <a:cubicBezTo>
                      <a:pt x="589" y="1921"/>
                      <a:pt x="1179" y="914"/>
                      <a:pt x="1179" y="589"/>
                    </a:cubicBezTo>
                    <a:lnTo>
                      <a:pt x="1179" y="589"/>
                    </a:lnTo>
                    <a:cubicBezTo>
                      <a:pt x="1179" y="264"/>
                      <a:pt x="915" y="0"/>
                      <a:pt x="589" y="0"/>
                    </a:cubicBezTo>
                    <a:close/>
                  </a:path>
                </a:pathLst>
              </a:custGeom>
              <a:solidFill>
                <a:srgbClr val="4472C4"/>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grpSp>
            <p:nvGrpSpPr>
              <p:cNvPr id="101" name="Group 100">
                <a:extLst>
                  <a:ext uri="{FF2B5EF4-FFF2-40B4-BE49-F238E27FC236}">
                    <a16:creationId xmlns:a16="http://schemas.microsoft.com/office/drawing/2014/main" id="{1A81E971-B0A4-41CD-8B42-665A50182063}"/>
                  </a:ext>
                </a:extLst>
              </p:cNvPr>
              <p:cNvGrpSpPr/>
              <p:nvPr/>
            </p:nvGrpSpPr>
            <p:grpSpPr>
              <a:xfrm>
                <a:off x="4534529" y="2681027"/>
                <a:ext cx="360000" cy="360000"/>
                <a:chOff x="3451706" y="4705464"/>
                <a:chExt cx="432000" cy="432000"/>
              </a:xfrm>
            </p:grpSpPr>
            <p:sp>
              <p:nvSpPr>
                <p:cNvPr id="103" name="Flowchart: Connector 102">
                  <a:extLst>
                    <a:ext uri="{FF2B5EF4-FFF2-40B4-BE49-F238E27FC236}">
                      <a16:creationId xmlns:a16="http://schemas.microsoft.com/office/drawing/2014/main" id="{40C3370A-14BC-4737-9657-027489DB5866}"/>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4" name="Graphic 103" descr="Mining tools with solid fill">
                  <a:extLst>
                    <a:ext uri="{FF2B5EF4-FFF2-40B4-BE49-F238E27FC236}">
                      <a16:creationId xmlns:a16="http://schemas.microsoft.com/office/drawing/2014/main" id="{86CC7902-85A1-466F-98BF-ECDF928BE0F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87459" y="4741464"/>
                  <a:ext cx="360000" cy="360000"/>
                </a:xfrm>
                <a:prstGeom prst="rect">
                  <a:avLst/>
                </a:prstGeom>
              </p:spPr>
            </p:pic>
          </p:grpSp>
          <p:sp>
            <p:nvSpPr>
              <p:cNvPr id="102" name="Rectangle 101">
                <a:extLst>
                  <a:ext uri="{FF2B5EF4-FFF2-40B4-BE49-F238E27FC236}">
                    <a16:creationId xmlns:a16="http://schemas.microsoft.com/office/drawing/2014/main" id="{7E8AD3F0-0BDF-4A42-B16F-46E268120689}"/>
                  </a:ext>
                </a:extLst>
              </p:cNvPr>
              <p:cNvSpPr/>
              <p:nvPr/>
            </p:nvSpPr>
            <p:spPr>
              <a:xfrm>
                <a:off x="4530253" y="3094275"/>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grpSp>
        <p:grpSp>
          <p:nvGrpSpPr>
            <p:cNvPr id="65" name="Group 64">
              <a:extLst>
                <a:ext uri="{FF2B5EF4-FFF2-40B4-BE49-F238E27FC236}">
                  <a16:creationId xmlns:a16="http://schemas.microsoft.com/office/drawing/2014/main" id="{9EFEAD6D-3242-4B61-9767-05D00500D53B}"/>
                </a:ext>
              </a:extLst>
            </p:cNvPr>
            <p:cNvGrpSpPr/>
            <p:nvPr/>
          </p:nvGrpSpPr>
          <p:grpSpPr>
            <a:xfrm>
              <a:off x="6833965" y="3205303"/>
              <a:ext cx="703079" cy="1056070"/>
              <a:chOff x="7259337" y="2968704"/>
              <a:chExt cx="703079" cy="1056070"/>
            </a:xfrm>
          </p:grpSpPr>
          <p:sp>
            <p:nvSpPr>
              <p:cNvPr id="95" name="Freeform 32">
                <a:extLst>
                  <a:ext uri="{FF2B5EF4-FFF2-40B4-BE49-F238E27FC236}">
                    <a16:creationId xmlns:a16="http://schemas.microsoft.com/office/drawing/2014/main" id="{7597F091-B24F-4639-A5B5-B3638CCB4323}"/>
                  </a:ext>
                </a:extLst>
              </p:cNvPr>
              <p:cNvSpPr>
                <a:spLocks noChangeArrowheads="1"/>
              </p:cNvSpPr>
              <p:nvPr/>
            </p:nvSpPr>
            <p:spPr bwMode="auto">
              <a:xfrm>
                <a:off x="7259337" y="2968704"/>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rgbClr val="4472C4"/>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grpSp>
            <p:nvGrpSpPr>
              <p:cNvPr id="96" name="Group 95">
                <a:extLst>
                  <a:ext uri="{FF2B5EF4-FFF2-40B4-BE49-F238E27FC236}">
                    <a16:creationId xmlns:a16="http://schemas.microsoft.com/office/drawing/2014/main" id="{966E6944-F76A-46E3-AFC3-AC7C7D81FB93}"/>
                  </a:ext>
                </a:extLst>
              </p:cNvPr>
              <p:cNvGrpSpPr/>
              <p:nvPr/>
            </p:nvGrpSpPr>
            <p:grpSpPr>
              <a:xfrm>
                <a:off x="7429435" y="3124752"/>
                <a:ext cx="360000" cy="360000"/>
                <a:chOff x="3451706" y="4705464"/>
                <a:chExt cx="432000" cy="432000"/>
              </a:xfrm>
            </p:grpSpPr>
            <p:sp>
              <p:nvSpPr>
                <p:cNvPr id="98" name="Flowchart: Connector 97">
                  <a:extLst>
                    <a:ext uri="{FF2B5EF4-FFF2-40B4-BE49-F238E27FC236}">
                      <a16:creationId xmlns:a16="http://schemas.microsoft.com/office/drawing/2014/main" id="{7A5136C3-D1BD-4C8F-96F0-81D67C94D46C}"/>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9" name="Graphic 98" descr="Mining tools with solid fill">
                  <a:extLst>
                    <a:ext uri="{FF2B5EF4-FFF2-40B4-BE49-F238E27FC236}">
                      <a16:creationId xmlns:a16="http://schemas.microsoft.com/office/drawing/2014/main" id="{A550B24A-15F4-4A71-8B22-C5EE95810F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87459" y="4741464"/>
                  <a:ext cx="360000" cy="360000"/>
                </a:xfrm>
                <a:prstGeom prst="rect">
                  <a:avLst/>
                </a:prstGeom>
              </p:spPr>
            </p:pic>
          </p:grpSp>
          <p:sp>
            <p:nvSpPr>
              <p:cNvPr id="97" name="Rectangle 96">
                <a:extLst>
                  <a:ext uri="{FF2B5EF4-FFF2-40B4-BE49-F238E27FC236}">
                    <a16:creationId xmlns:a16="http://schemas.microsoft.com/office/drawing/2014/main" id="{32D2D6A5-1E0B-422B-849E-4AFDF5A75F2C}"/>
                  </a:ext>
                </a:extLst>
              </p:cNvPr>
              <p:cNvSpPr/>
              <p:nvPr/>
            </p:nvSpPr>
            <p:spPr>
              <a:xfrm>
                <a:off x="7430523" y="3533994"/>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grpSp>
        <p:grpSp>
          <p:nvGrpSpPr>
            <p:cNvPr id="66" name="Group 65">
              <a:extLst>
                <a:ext uri="{FF2B5EF4-FFF2-40B4-BE49-F238E27FC236}">
                  <a16:creationId xmlns:a16="http://schemas.microsoft.com/office/drawing/2014/main" id="{3899A801-549D-444D-A11D-8DC6D4ABEF11}"/>
                </a:ext>
              </a:extLst>
            </p:cNvPr>
            <p:cNvGrpSpPr/>
            <p:nvPr/>
          </p:nvGrpSpPr>
          <p:grpSpPr>
            <a:xfrm>
              <a:off x="10043497" y="4503799"/>
              <a:ext cx="703079" cy="1056070"/>
              <a:chOff x="8872298" y="4068306"/>
              <a:chExt cx="703079" cy="1056070"/>
            </a:xfrm>
          </p:grpSpPr>
          <p:sp>
            <p:nvSpPr>
              <p:cNvPr id="92" name="Freeform 32">
                <a:extLst>
                  <a:ext uri="{FF2B5EF4-FFF2-40B4-BE49-F238E27FC236}">
                    <a16:creationId xmlns:a16="http://schemas.microsoft.com/office/drawing/2014/main" id="{756967B3-2A3F-4B42-BB04-4116004ADCD8}"/>
                  </a:ext>
                </a:extLst>
              </p:cNvPr>
              <p:cNvSpPr>
                <a:spLocks noChangeArrowheads="1"/>
              </p:cNvSpPr>
              <p:nvPr/>
            </p:nvSpPr>
            <p:spPr bwMode="auto">
              <a:xfrm>
                <a:off x="8872298" y="4068306"/>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rgbClr val="4472C4"/>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93" name="Flowchart: Connector 92">
                <a:extLst>
                  <a:ext uri="{FF2B5EF4-FFF2-40B4-BE49-F238E27FC236}">
                    <a16:creationId xmlns:a16="http://schemas.microsoft.com/office/drawing/2014/main" id="{E3E3CC7E-3FF8-4A93-AFA3-354CEBBF51B3}"/>
                  </a:ext>
                </a:extLst>
              </p:cNvPr>
              <p:cNvSpPr/>
              <p:nvPr/>
            </p:nvSpPr>
            <p:spPr>
              <a:xfrm>
                <a:off x="9044605" y="4236341"/>
                <a:ext cx="360000" cy="360000"/>
              </a:xfrm>
              <a:prstGeom prst="flowChartConnector">
                <a:avLst/>
              </a:prstGeom>
              <a:solidFill>
                <a:schemeClr val="accent6"/>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93">
                <a:extLst>
                  <a:ext uri="{FF2B5EF4-FFF2-40B4-BE49-F238E27FC236}">
                    <a16:creationId xmlns:a16="http://schemas.microsoft.com/office/drawing/2014/main" id="{BF86E31A-47E6-4984-BA40-51873245B41D}"/>
                  </a:ext>
                </a:extLst>
              </p:cNvPr>
              <p:cNvSpPr/>
              <p:nvPr/>
            </p:nvSpPr>
            <p:spPr>
              <a:xfrm>
                <a:off x="9043837" y="4665006"/>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6</a:t>
                </a:r>
              </a:p>
            </p:txBody>
          </p:sp>
        </p:grpSp>
        <p:grpSp>
          <p:nvGrpSpPr>
            <p:cNvPr id="67" name="Group 66">
              <a:extLst>
                <a:ext uri="{FF2B5EF4-FFF2-40B4-BE49-F238E27FC236}">
                  <a16:creationId xmlns:a16="http://schemas.microsoft.com/office/drawing/2014/main" id="{5AD342D1-5295-4310-AE7F-9978141E8850}"/>
                </a:ext>
              </a:extLst>
            </p:cNvPr>
            <p:cNvGrpSpPr/>
            <p:nvPr/>
          </p:nvGrpSpPr>
          <p:grpSpPr>
            <a:xfrm>
              <a:off x="8252792" y="4156515"/>
              <a:ext cx="914400" cy="914400"/>
              <a:chOff x="8036840" y="4338888"/>
              <a:chExt cx="914400" cy="914400"/>
            </a:xfrm>
          </p:grpSpPr>
          <p:sp>
            <p:nvSpPr>
              <p:cNvPr id="90" name="Oval 89">
                <a:extLst>
                  <a:ext uri="{FF2B5EF4-FFF2-40B4-BE49-F238E27FC236}">
                    <a16:creationId xmlns:a16="http://schemas.microsoft.com/office/drawing/2014/main" id="{1B2E8A4A-C9D7-4F3A-8323-4D065C2EDDCC}"/>
                  </a:ext>
                </a:extLst>
              </p:cNvPr>
              <p:cNvSpPr/>
              <p:nvPr/>
            </p:nvSpPr>
            <p:spPr>
              <a:xfrm>
                <a:off x="8036840" y="4338888"/>
                <a:ext cx="914400" cy="914400"/>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1" name="Graphic 90" descr="Race Flag with solid fill">
                <a:extLst>
                  <a:ext uri="{FF2B5EF4-FFF2-40B4-BE49-F238E27FC236}">
                    <a16:creationId xmlns:a16="http://schemas.microsoft.com/office/drawing/2014/main" id="{B05FF77B-9E5B-4D5B-922F-2F4DC8060DD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36840" y="4338888"/>
                <a:ext cx="914400" cy="914400"/>
              </a:xfrm>
              <a:prstGeom prst="rect">
                <a:avLst/>
              </a:prstGeom>
            </p:spPr>
          </p:pic>
        </p:grpSp>
        <p:sp>
          <p:nvSpPr>
            <p:cNvPr id="68" name="Freeform 30">
              <a:extLst>
                <a:ext uri="{FF2B5EF4-FFF2-40B4-BE49-F238E27FC236}">
                  <a16:creationId xmlns:a16="http://schemas.microsoft.com/office/drawing/2014/main" id="{6DA4E8A4-DC2E-4811-8CCE-9FBA3519B9D1}"/>
                </a:ext>
              </a:extLst>
            </p:cNvPr>
            <p:cNvSpPr>
              <a:spLocks noChangeAspect="1" noChangeArrowheads="1"/>
            </p:cNvSpPr>
            <p:nvPr/>
          </p:nvSpPr>
          <p:spPr bwMode="auto">
            <a:xfrm>
              <a:off x="576000" y="5533820"/>
              <a:ext cx="240795" cy="36000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0069B4"/>
                </a:solidFill>
                <a:effectLst/>
                <a:uLnTx/>
                <a:uFillTx/>
                <a:latin typeface="Fira Sans Light" panose="020B0403050000020004" pitchFamily="34" charset="0"/>
                <a:ea typeface="+mn-ea"/>
                <a:cs typeface="+mn-cs"/>
              </a:endParaRPr>
            </a:p>
          </p:txBody>
        </p:sp>
        <p:sp>
          <p:nvSpPr>
            <p:cNvPr id="69" name="Rectangle 68">
              <a:extLst>
                <a:ext uri="{FF2B5EF4-FFF2-40B4-BE49-F238E27FC236}">
                  <a16:creationId xmlns:a16="http://schemas.microsoft.com/office/drawing/2014/main" id="{53EE1016-177D-4320-9EE9-6FA42AD912C6}"/>
                </a:ext>
              </a:extLst>
            </p:cNvPr>
            <p:cNvSpPr/>
            <p:nvPr/>
          </p:nvSpPr>
          <p:spPr>
            <a:xfrm>
              <a:off x="1084583" y="553382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69B4"/>
                  </a:solidFill>
                  <a:effectLst/>
                  <a:uLnTx/>
                  <a:uFillTx/>
                  <a:latin typeface="Calibri" panose="020F0502020204030204"/>
                  <a:ea typeface="+mn-ea"/>
                  <a:cs typeface="+mn-cs"/>
                </a:rPr>
                <a:t>Milestone</a:t>
              </a:r>
            </a:p>
          </p:txBody>
        </p:sp>
        <p:grpSp>
          <p:nvGrpSpPr>
            <p:cNvPr id="70" name="Group 69">
              <a:extLst>
                <a:ext uri="{FF2B5EF4-FFF2-40B4-BE49-F238E27FC236}">
                  <a16:creationId xmlns:a16="http://schemas.microsoft.com/office/drawing/2014/main" id="{ABE77B8B-BEB0-4A85-BA87-46603290BB1E}"/>
                </a:ext>
              </a:extLst>
            </p:cNvPr>
            <p:cNvGrpSpPr/>
            <p:nvPr/>
          </p:nvGrpSpPr>
          <p:grpSpPr>
            <a:xfrm>
              <a:off x="3021325" y="5533820"/>
              <a:ext cx="360000" cy="360000"/>
              <a:chOff x="2301753" y="1439578"/>
              <a:chExt cx="360000" cy="360000"/>
            </a:xfrm>
          </p:grpSpPr>
          <p:sp>
            <p:nvSpPr>
              <p:cNvPr id="88" name="Flowchart: Connector 87">
                <a:extLst>
                  <a:ext uri="{FF2B5EF4-FFF2-40B4-BE49-F238E27FC236}">
                    <a16:creationId xmlns:a16="http://schemas.microsoft.com/office/drawing/2014/main" id="{549AB77E-18BB-429C-9AD8-0662F94EBAC1}"/>
                  </a:ext>
                </a:extLst>
              </p:cNvPr>
              <p:cNvSpPr/>
              <p:nvPr/>
            </p:nvSpPr>
            <p:spPr>
              <a:xfrm>
                <a:off x="2301753" y="1439578"/>
                <a:ext cx="360000" cy="360000"/>
              </a:xfrm>
              <a:prstGeom prst="flowChartConnector">
                <a:avLst/>
              </a:prstGeom>
              <a:solidFill>
                <a:srgbClr val="92D050"/>
              </a:solid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pic>
            <p:nvPicPr>
              <p:cNvPr id="89" name="Graphic 88" descr="Checkmark with solid fill">
                <a:extLst>
                  <a:ext uri="{FF2B5EF4-FFF2-40B4-BE49-F238E27FC236}">
                    <a16:creationId xmlns:a16="http://schemas.microsoft.com/office/drawing/2014/main" id="{09E2C491-7E4A-4627-A97F-C102BFAB11E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8793" y="1469578"/>
                <a:ext cx="300000" cy="300000"/>
              </a:xfrm>
              <a:prstGeom prst="rect">
                <a:avLst/>
              </a:prstGeom>
            </p:spPr>
          </p:pic>
        </p:grpSp>
        <p:sp>
          <p:nvSpPr>
            <p:cNvPr id="71" name="Rectangle 70">
              <a:extLst>
                <a:ext uri="{FF2B5EF4-FFF2-40B4-BE49-F238E27FC236}">
                  <a16:creationId xmlns:a16="http://schemas.microsoft.com/office/drawing/2014/main" id="{B18D9B77-18E7-45D9-9065-3DBE28907C2B}"/>
                </a:ext>
              </a:extLst>
            </p:cNvPr>
            <p:cNvSpPr/>
            <p:nvPr/>
          </p:nvSpPr>
          <p:spPr>
            <a:xfrm>
              <a:off x="3588948" y="553382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69B4"/>
                  </a:solidFill>
                  <a:effectLst/>
                  <a:uLnTx/>
                  <a:uFillTx/>
                  <a:latin typeface="Calibri" panose="020F0502020204030204"/>
                  <a:ea typeface="+mn-ea"/>
                  <a:cs typeface="+mn-cs"/>
                </a:rPr>
                <a:t>Completed milestone</a:t>
              </a:r>
            </a:p>
          </p:txBody>
        </p:sp>
        <p:grpSp>
          <p:nvGrpSpPr>
            <p:cNvPr id="72" name="Group 71">
              <a:extLst>
                <a:ext uri="{FF2B5EF4-FFF2-40B4-BE49-F238E27FC236}">
                  <a16:creationId xmlns:a16="http://schemas.microsoft.com/office/drawing/2014/main" id="{EBC08AD6-8119-4659-B219-32F1E57ECF48}"/>
                </a:ext>
              </a:extLst>
            </p:cNvPr>
            <p:cNvGrpSpPr/>
            <p:nvPr/>
          </p:nvGrpSpPr>
          <p:grpSpPr>
            <a:xfrm>
              <a:off x="3021116" y="6000669"/>
              <a:ext cx="360000" cy="360000"/>
              <a:chOff x="3176332" y="4055691"/>
              <a:chExt cx="360000" cy="360000"/>
            </a:xfrm>
          </p:grpSpPr>
          <p:sp>
            <p:nvSpPr>
              <p:cNvPr id="86" name="Flowchart: Connector 85">
                <a:extLst>
                  <a:ext uri="{FF2B5EF4-FFF2-40B4-BE49-F238E27FC236}">
                    <a16:creationId xmlns:a16="http://schemas.microsoft.com/office/drawing/2014/main" id="{6030E364-B1F5-496F-B4A6-EAF302B015AF}"/>
                  </a:ext>
                </a:extLst>
              </p:cNvPr>
              <p:cNvSpPr/>
              <p:nvPr/>
            </p:nvSpPr>
            <p:spPr>
              <a:xfrm>
                <a:off x="3176332" y="4055691"/>
                <a:ext cx="360000" cy="360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pic>
            <p:nvPicPr>
              <p:cNvPr id="87" name="Graphic 86" descr="Mining tools with solid fill">
                <a:extLst>
                  <a:ext uri="{FF2B5EF4-FFF2-40B4-BE49-F238E27FC236}">
                    <a16:creationId xmlns:a16="http://schemas.microsoft.com/office/drawing/2014/main" id="{FC72F5CD-0D01-4338-9864-E21E85B6B5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06126" y="4085691"/>
                <a:ext cx="300000" cy="300000"/>
              </a:xfrm>
              <a:prstGeom prst="rect">
                <a:avLst/>
              </a:prstGeom>
            </p:spPr>
          </p:pic>
        </p:grpSp>
        <p:sp>
          <p:nvSpPr>
            <p:cNvPr id="73" name="Rectangle 72">
              <a:extLst>
                <a:ext uri="{FF2B5EF4-FFF2-40B4-BE49-F238E27FC236}">
                  <a16:creationId xmlns:a16="http://schemas.microsoft.com/office/drawing/2014/main" id="{9E670DAC-DAC0-4EB7-9BD2-B4FF65EDD5F2}"/>
                </a:ext>
              </a:extLst>
            </p:cNvPr>
            <p:cNvSpPr/>
            <p:nvPr/>
          </p:nvSpPr>
          <p:spPr>
            <a:xfrm>
              <a:off x="3588031" y="6000669"/>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69B4"/>
                  </a:solidFill>
                  <a:effectLst/>
                  <a:uLnTx/>
                  <a:uFillTx/>
                  <a:latin typeface="Calibri" panose="020F0502020204030204"/>
                  <a:ea typeface="+mn-ea"/>
                  <a:cs typeface="+mn-cs"/>
                </a:rPr>
                <a:t>In progress milestone</a:t>
              </a:r>
            </a:p>
          </p:txBody>
        </p:sp>
        <p:sp>
          <p:nvSpPr>
            <p:cNvPr id="74" name="Flowchart: Connector 73">
              <a:extLst>
                <a:ext uri="{FF2B5EF4-FFF2-40B4-BE49-F238E27FC236}">
                  <a16:creationId xmlns:a16="http://schemas.microsoft.com/office/drawing/2014/main" id="{C761CD3E-2DD3-4E4D-8A93-EF71EB3C967D}"/>
                </a:ext>
              </a:extLst>
            </p:cNvPr>
            <p:cNvSpPr/>
            <p:nvPr/>
          </p:nvSpPr>
          <p:spPr>
            <a:xfrm>
              <a:off x="5525690" y="5533820"/>
              <a:ext cx="360000" cy="360000"/>
            </a:xfrm>
            <a:prstGeom prst="flowChartConnector">
              <a:avLst/>
            </a:prstGeom>
            <a:solidFill>
              <a:schemeClr val="accent6"/>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3C3BED75-3CA5-406A-B95E-89E7BF1FC489}"/>
                </a:ext>
              </a:extLst>
            </p:cNvPr>
            <p:cNvSpPr/>
            <p:nvPr/>
          </p:nvSpPr>
          <p:spPr>
            <a:xfrm>
              <a:off x="6092605" y="553382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69B4"/>
                  </a:solidFill>
                  <a:effectLst/>
                  <a:uLnTx/>
                  <a:uFillTx/>
                  <a:latin typeface="Calibri" panose="020F0502020204030204"/>
                  <a:ea typeface="+mn-ea"/>
                  <a:cs typeface="+mn-cs"/>
                </a:rPr>
                <a:t>Not started milestone</a:t>
              </a:r>
            </a:p>
          </p:txBody>
        </p:sp>
        <p:grpSp>
          <p:nvGrpSpPr>
            <p:cNvPr id="76" name="Group 75">
              <a:extLst>
                <a:ext uri="{FF2B5EF4-FFF2-40B4-BE49-F238E27FC236}">
                  <a16:creationId xmlns:a16="http://schemas.microsoft.com/office/drawing/2014/main" id="{A7AD3E8C-89B1-4958-8FBE-FFCB82423366}"/>
                </a:ext>
              </a:extLst>
            </p:cNvPr>
            <p:cNvGrpSpPr/>
            <p:nvPr/>
          </p:nvGrpSpPr>
          <p:grpSpPr>
            <a:xfrm>
              <a:off x="5525690" y="6000669"/>
              <a:ext cx="360000" cy="360000"/>
              <a:chOff x="8036840" y="4338888"/>
              <a:chExt cx="914400" cy="914400"/>
            </a:xfrm>
          </p:grpSpPr>
          <p:sp>
            <p:nvSpPr>
              <p:cNvPr id="84" name="Oval 83">
                <a:extLst>
                  <a:ext uri="{FF2B5EF4-FFF2-40B4-BE49-F238E27FC236}">
                    <a16:creationId xmlns:a16="http://schemas.microsoft.com/office/drawing/2014/main" id="{9D7EA170-B09E-4264-878E-E4122516C1FF}"/>
                  </a:ext>
                </a:extLst>
              </p:cNvPr>
              <p:cNvSpPr/>
              <p:nvPr/>
            </p:nvSpPr>
            <p:spPr>
              <a:xfrm>
                <a:off x="8036840" y="4338888"/>
                <a:ext cx="914400" cy="914400"/>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pic>
            <p:nvPicPr>
              <p:cNvPr id="85" name="Graphic 84" descr="Race Flag with solid fill">
                <a:extLst>
                  <a:ext uri="{FF2B5EF4-FFF2-40B4-BE49-F238E27FC236}">
                    <a16:creationId xmlns:a16="http://schemas.microsoft.com/office/drawing/2014/main" id="{5F800FCF-5EFA-4184-86E7-DEE73937D2F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36840" y="4338888"/>
                <a:ext cx="914400" cy="914400"/>
              </a:xfrm>
              <a:prstGeom prst="rect">
                <a:avLst/>
              </a:prstGeom>
            </p:spPr>
          </p:pic>
        </p:grpSp>
        <p:sp>
          <p:nvSpPr>
            <p:cNvPr id="77" name="Rectangle 76">
              <a:extLst>
                <a:ext uri="{FF2B5EF4-FFF2-40B4-BE49-F238E27FC236}">
                  <a16:creationId xmlns:a16="http://schemas.microsoft.com/office/drawing/2014/main" id="{38EB463F-DC54-4226-91BC-160A5111A2F7}"/>
                </a:ext>
              </a:extLst>
            </p:cNvPr>
            <p:cNvSpPr/>
            <p:nvPr/>
          </p:nvSpPr>
          <p:spPr>
            <a:xfrm>
              <a:off x="6092605" y="6000669"/>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69B4"/>
                  </a:solidFill>
                  <a:effectLst/>
                  <a:uLnTx/>
                  <a:uFillTx/>
                  <a:latin typeface="Calibri" panose="020F0502020204030204"/>
                  <a:ea typeface="+mn-ea"/>
                  <a:cs typeface="+mn-cs"/>
                </a:rPr>
                <a:t>October due date</a:t>
              </a:r>
            </a:p>
          </p:txBody>
        </p:sp>
        <p:grpSp>
          <p:nvGrpSpPr>
            <p:cNvPr id="78" name="Group 77">
              <a:extLst>
                <a:ext uri="{FF2B5EF4-FFF2-40B4-BE49-F238E27FC236}">
                  <a16:creationId xmlns:a16="http://schemas.microsoft.com/office/drawing/2014/main" id="{5EC43FE7-0585-4E77-9F2C-D27979F6CB72}"/>
                </a:ext>
              </a:extLst>
            </p:cNvPr>
            <p:cNvGrpSpPr/>
            <p:nvPr/>
          </p:nvGrpSpPr>
          <p:grpSpPr>
            <a:xfrm>
              <a:off x="4914026" y="846928"/>
              <a:ext cx="703079" cy="1056070"/>
              <a:chOff x="4914026" y="846928"/>
              <a:chExt cx="703079" cy="1056070"/>
            </a:xfrm>
          </p:grpSpPr>
          <p:sp>
            <p:nvSpPr>
              <p:cNvPr id="79" name="Freeform 30">
                <a:extLst>
                  <a:ext uri="{FF2B5EF4-FFF2-40B4-BE49-F238E27FC236}">
                    <a16:creationId xmlns:a16="http://schemas.microsoft.com/office/drawing/2014/main" id="{750131E9-0480-488E-9372-27F062E43AF2}"/>
                  </a:ext>
                </a:extLst>
              </p:cNvPr>
              <p:cNvSpPr>
                <a:spLocks noChangeArrowheads="1"/>
              </p:cNvSpPr>
              <p:nvPr/>
            </p:nvSpPr>
            <p:spPr bwMode="auto">
              <a:xfrm>
                <a:off x="4914026" y="846928"/>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80" name="Rectangle 79">
                <a:extLst>
                  <a:ext uri="{FF2B5EF4-FFF2-40B4-BE49-F238E27FC236}">
                    <a16:creationId xmlns:a16="http://schemas.microsoft.com/office/drawing/2014/main" id="{AE129A37-E58E-429E-A512-8566B31EB285}"/>
                  </a:ext>
                </a:extLst>
              </p:cNvPr>
              <p:cNvSpPr/>
              <p:nvPr/>
            </p:nvSpPr>
            <p:spPr>
              <a:xfrm>
                <a:off x="5084711" y="1410614"/>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grpSp>
            <p:nvGrpSpPr>
              <p:cNvPr id="81" name="Group 80">
                <a:extLst>
                  <a:ext uri="{FF2B5EF4-FFF2-40B4-BE49-F238E27FC236}">
                    <a16:creationId xmlns:a16="http://schemas.microsoft.com/office/drawing/2014/main" id="{57C74545-2D2C-42F7-BFE8-42E7A94E681D}"/>
                  </a:ext>
                </a:extLst>
              </p:cNvPr>
              <p:cNvGrpSpPr/>
              <p:nvPr/>
            </p:nvGrpSpPr>
            <p:grpSpPr>
              <a:xfrm>
                <a:off x="5081874" y="1009105"/>
                <a:ext cx="360000" cy="360000"/>
                <a:chOff x="2301753" y="1439578"/>
                <a:chExt cx="360000" cy="360000"/>
              </a:xfrm>
            </p:grpSpPr>
            <p:sp>
              <p:nvSpPr>
                <p:cNvPr id="82" name="Flowchart: Connector 81">
                  <a:extLst>
                    <a:ext uri="{FF2B5EF4-FFF2-40B4-BE49-F238E27FC236}">
                      <a16:creationId xmlns:a16="http://schemas.microsoft.com/office/drawing/2014/main" id="{D9CA1E37-194F-4E42-B49C-BCE95515627E}"/>
                    </a:ext>
                  </a:extLst>
                </p:cNvPr>
                <p:cNvSpPr/>
                <p:nvPr/>
              </p:nvSpPr>
              <p:spPr>
                <a:xfrm>
                  <a:off x="2301753" y="1439578"/>
                  <a:ext cx="360000" cy="360000"/>
                </a:xfrm>
                <a:prstGeom prst="flowChartConnector">
                  <a:avLst/>
                </a:prstGeom>
                <a:solidFill>
                  <a:srgbClr val="92D050"/>
                </a:solid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pic>
              <p:nvPicPr>
                <p:cNvPr id="83" name="Graphic 82" descr="Checkmark with solid fill">
                  <a:extLst>
                    <a:ext uri="{FF2B5EF4-FFF2-40B4-BE49-F238E27FC236}">
                      <a16:creationId xmlns:a16="http://schemas.microsoft.com/office/drawing/2014/main" id="{137BE6AF-1ED3-4C67-80AB-5BF5B34243C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8793" y="1469578"/>
                  <a:ext cx="300000" cy="300000"/>
                </a:xfrm>
                <a:prstGeom prst="rect">
                  <a:avLst/>
                </a:prstGeom>
              </p:spPr>
            </p:pic>
          </p:grpSp>
        </p:grpSp>
      </p:grpSp>
    </p:spTree>
    <p:extLst>
      <p:ext uri="{BB962C8B-B14F-4D97-AF65-F5344CB8AC3E}">
        <p14:creationId xmlns:p14="http://schemas.microsoft.com/office/powerpoint/2010/main" val="2784395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494CD-135A-4DE0-97D6-88BE7FB52C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12494CD-135A-4DE0-97D6-88BE7FB52C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D34AAC38-AA0B-4157-A388-E347A5EDECEE}"/>
              </a:ext>
            </a:extLst>
          </p:cNvPr>
          <p:cNvSpPr>
            <a:spLocks noGrp="1"/>
          </p:cNvSpPr>
          <p:nvPr>
            <p:ph type="ctrTitle"/>
          </p:nvPr>
        </p:nvSpPr>
        <p:spPr/>
        <p:txBody>
          <a:bodyPr vert="horz">
            <a:normAutofit fontScale="90000"/>
          </a:bodyPr>
          <a:lstStyle/>
          <a:p>
            <a:r>
              <a:rPr lang="en-US"/>
              <a:t>Timeline for relaunching Data Governance within Aegon Asset Management</a:t>
            </a:r>
          </a:p>
        </p:txBody>
      </p:sp>
      <p:grpSp>
        <p:nvGrpSpPr>
          <p:cNvPr id="18" name="Group 17">
            <a:extLst>
              <a:ext uri="{FF2B5EF4-FFF2-40B4-BE49-F238E27FC236}">
                <a16:creationId xmlns:a16="http://schemas.microsoft.com/office/drawing/2014/main" id="{FD5EA12B-27C8-4E60-B52C-CED396D54AED}"/>
              </a:ext>
            </a:extLst>
          </p:cNvPr>
          <p:cNvGrpSpPr/>
          <p:nvPr/>
        </p:nvGrpSpPr>
        <p:grpSpPr>
          <a:xfrm>
            <a:off x="577521" y="2040556"/>
            <a:ext cx="1485953" cy="1879290"/>
            <a:chOff x="577521" y="2040556"/>
            <a:chExt cx="1485953" cy="1879290"/>
          </a:xfrm>
        </p:grpSpPr>
        <p:sp>
          <p:nvSpPr>
            <p:cNvPr id="58" name="Rectangle 57">
              <a:extLst>
                <a:ext uri="{FF2B5EF4-FFF2-40B4-BE49-F238E27FC236}">
                  <a16:creationId xmlns:a16="http://schemas.microsoft.com/office/drawing/2014/main" id="{096288E5-2AF2-4D59-AF42-3A197E95CBEC}"/>
                </a:ext>
              </a:extLst>
            </p:cNvPr>
            <p:cNvSpPr/>
            <p:nvPr/>
          </p:nvSpPr>
          <p:spPr>
            <a:xfrm>
              <a:off x="614633"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Council structure approv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Life of a Data Element ‘</a:t>
              </a: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What good looks like</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ime expectations of a Data Owner and Data Steward</a:t>
              </a:r>
            </a:p>
          </p:txBody>
        </p:sp>
        <p:sp>
          <p:nvSpPr>
            <p:cNvPr id="89" name="Chevron 80">
              <a:extLst>
                <a:ext uri="{FF2B5EF4-FFF2-40B4-BE49-F238E27FC236}">
                  <a16:creationId xmlns:a16="http://schemas.microsoft.com/office/drawing/2014/main" id="{2162765D-7B81-4E99-BD25-EB0EE276E86F}"/>
                </a:ext>
              </a:extLst>
            </p:cNvPr>
            <p:cNvSpPr/>
            <p:nvPr/>
          </p:nvSpPr>
          <p:spPr bwMode="auto">
            <a:xfrm>
              <a:off x="577521" y="2040556"/>
              <a:ext cx="1485953" cy="739912"/>
            </a:xfrm>
            <a:prstGeom prst="chevron">
              <a:avLst/>
            </a:prstGeom>
            <a:solidFill>
              <a:schemeClr val="accent1"/>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4th G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Aug 8</a:t>
              </a:r>
            </a:p>
          </p:txBody>
        </p:sp>
      </p:grpSp>
      <p:grpSp>
        <p:nvGrpSpPr>
          <p:cNvPr id="17" name="Group 16">
            <a:extLst>
              <a:ext uri="{FF2B5EF4-FFF2-40B4-BE49-F238E27FC236}">
                <a16:creationId xmlns:a16="http://schemas.microsoft.com/office/drawing/2014/main" id="{EA6C5775-8E71-48EC-AA56-84AC5DBEBE15}"/>
              </a:ext>
            </a:extLst>
          </p:cNvPr>
          <p:cNvGrpSpPr/>
          <p:nvPr/>
        </p:nvGrpSpPr>
        <p:grpSpPr>
          <a:xfrm>
            <a:off x="6341325" y="2040556"/>
            <a:ext cx="1485953" cy="1879290"/>
            <a:chOff x="1950939" y="2040556"/>
            <a:chExt cx="1485953" cy="1879290"/>
          </a:xfrm>
        </p:grpSpPr>
        <p:sp>
          <p:nvSpPr>
            <p:cNvPr id="61" name="Rectangle 60">
              <a:extLst>
                <a:ext uri="{FF2B5EF4-FFF2-40B4-BE49-F238E27FC236}">
                  <a16:creationId xmlns:a16="http://schemas.microsoft.com/office/drawing/2014/main" id="{CB217D69-A21A-4661-813A-ED877269649E}"/>
                </a:ext>
              </a:extLst>
            </p:cNvPr>
            <p:cNvSpPr/>
            <p:nvPr/>
          </p:nvSpPr>
          <p:spPr>
            <a:xfrm>
              <a:off x="1996690"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Final Data domain model approved by the Guiding Coali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raft Data Owners assign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raft Data Stewards assigned</a:t>
              </a:r>
            </a:p>
          </p:txBody>
        </p:sp>
        <p:sp>
          <p:nvSpPr>
            <p:cNvPr id="90" name="Chevron 10">
              <a:extLst>
                <a:ext uri="{FF2B5EF4-FFF2-40B4-BE49-F238E27FC236}">
                  <a16:creationId xmlns:a16="http://schemas.microsoft.com/office/drawing/2014/main" id="{E8FEF0E4-1D82-481F-88EB-DB66320E3E11}"/>
                </a:ext>
              </a:extLst>
            </p:cNvPr>
            <p:cNvSpPr/>
            <p:nvPr/>
          </p:nvSpPr>
          <p:spPr bwMode="auto">
            <a:xfrm>
              <a:off x="1950939"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7</a:t>
              </a:r>
              <a:r>
                <a:rPr kumimoji="0" lang="en-US" sz="1400" b="0" i="0" u="none" strike="noStrike" kern="1200" cap="none" spc="0" normalizeH="0" baseline="0" noProof="0" err="1">
                  <a:ln>
                    <a:noFill/>
                  </a:ln>
                  <a:solidFill>
                    <a:prstClr val="white"/>
                  </a:solidFill>
                  <a:effectLst/>
                  <a:uLnTx/>
                  <a:uFillTx/>
                  <a:latin typeface="Calibri" panose="020F0502020204030204"/>
                  <a:ea typeface="+mn-ea"/>
                  <a:cs typeface="+mn-cs"/>
                </a:rPr>
                <a:t>th</a:t>
              </a: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 G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Sep 19</a:t>
              </a:r>
            </a:p>
          </p:txBody>
        </p:sp>
      </p:grpSp>
      <p:grpSp>
        <p:nvGrpSpPr>
          <p:cNvPr id="16" name="Group 15">
            <a:extLst>
              <a:ext uri="{FF2B5EF4-FFF2-40B4-BE49-F238E27FC236}">
                <a16:creationId xmlns:a16="http://schemas.microsoft.com/office/drawing/2014/main" id="{91265009-718F-486B-A55F-C1EDE93EDFE9}"/>
              </a:ext>
            </a:extLst>
          </p:cNvPr>
          <p:cNvGrpSpPr/>
          <p:nvPr/>
        </p:nvGrpSpPr>
        <p:grpSpPr>
          <a:xfrm>
            <a:off x="4420057" y="2040556"/>
            <a:ext cx="1485953" cy="1879290"/>
            <a:chOff x="3324357" y="2040556"/>
            <a:chExt cx="1485953" cy="1879290"/>
          </a:xfrm>
        </p:grpSpPr>
        <p:sp>
          <p:nvSpPr>
            <p:cNvPr id="70" name="Rectangle 69">
              <a:extLst>
                <a:ext uri="{FF2B5EF4-FFF2-40B4-BE49-F238E27FC236}">
                  <a16:creationId xmlns:a16="http://schemas.microsoft.com/office/drawing/2014/main" id="{F5519517-D42B-4D89-8861-0EA6288FC3C8}"/>
                </a:ext>
              </a:extLst>
            </p:cNvPr>
            <p:cNvSpPr/>
            <p:nvPr/>
          </p:nvSpPr>
          <p:spPr>
            <a:xfrm>
              <a:off x="3378747"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ata Governance Charter approved by the Guiding Coali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raft data domain model discuss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Chevron 80">
              <a:extLst>
                <a:ext uri="{FF2B5EF4-FFF2-40B4-BE49-F238E27FC236}">
                  <a16:creationId xmlns:a16="http://schemas.microsoft.com/office/drawing/2014/main" id="{88DA59C2-E33A-4F68-BE84-91D3CC987C24}"/>
                </a:ext>
              </a:extLst>
            </p:cNvPr>
            <p:cNvSpPr/>
            <p:nvPr/>
          </p:nvSpPr>
          <p:spPr bwMode="auto">
            <a:xfrm>
              <a:off x="3324357" y="2040556"/>
              <a:ext cx="1485953" cy="739912"/>
            </a:xfrm>
            <a:prstGeom prst="chevron">
              <a:avLst/>
            </a:prstGeom>
            <a:solidFill>
              <a:schemeClr val="accent2"/>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mn-cs"/>
                </a:rPr>
                <a:t>6th G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mn-cs"/>
                </a:rPr>
                <a:t>Sep 5</a:t>
              </a:r>
            </a:p>
          </p:txBody>
        </p:sp>
      </p:grpSp>
      <p:grpSp>
        <p:nvGrpSpPr>
          <p:cNvPr id="15" name="Group 14">
            <a:extLst>
              <a:ext uri="{FF2B5EF4-FFF2-40B4-BE49-F238E27FC236}">
                <a16:creationId xmlns:a16="http://schemas.microsoft.com/office/drawing/2014/main" id="{9AC61CE2-8A08-4C93-ADD9-86ECF4A05117}"/>
              </a:ext>
            </a:extLst>
          </p:cNvPr>
          <p:cNvGrpSpPr/>
          <p:nvPr/>
        </p:nvGrpSpPr>
        <p:grpSpPr>
          <a:xfrm>
            <a:off x="2498789" y="2040556"/>
            <a:ext cx="1485953" cy="1879290"/>
            <a:chOff x="4697775" y="2040556"/>
            <a:chExt cx="1485953" cy="1879290"/>
          </a:xfrm>
        </p:grpSpPr>
        <p:sp>
          <p:nvSpPr>
            <p:cNvPr id="86" name="Rectangle 85">
              <a:extLst>
                <a:ext uri="{FF2B5EF4-FFF2-40B4-BE49-F238E27FC236}">
                  <a16:creationId xmlns:a16="http://schemas.microsoft.com/office/drawing/2014/main" id="{9FBBEE21-A11A-43FE-94A3-A984CDCDBA4C}"/>
                </a:ext>
              </a:extLst>
            </p:cNvPr>
            <p:cNvSpPr/>
            <p:nvPr/>
          </p:nvSpPr>
          <p:spPr>
            <a:xfrm>
              <a:off x="4752727"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raft Data Governance Charter discuss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Chevron 80">
              <a:extLst>
                <a:ext uri="{FF2B5EF4-FFF2-40B4-BE49-F238E27FC236}">
                  <a16:creationId xmlns:a16="http://schemas.microsoft.com/office/drawing/2014/main" id="{4E5484E5-1C9A-4D84-A2D5-7D52B24E594D}"/>
                </a:ext>
              </a:extLst>
            </p:cNvPr>
            <p:cNvSpPr/>
            <p:nvPr/>
          </p:nvSpPr>
          <p:spPr bwMode="auto">
            <a:xfrm>
              <a:off x="4697775" y="2040556"/>
              <a:ext cx="1485953" cy="739912"/>
            </a:xfrm>
            <a:prstGeom prst="chevron">
              <a:avLst/>
            </a:prstGeom>
            <a:solidFill>
              <a:srgbClr val="0069B4"/>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5th G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Aug 29</a:t>
              </a:r>
            </a:p>
          </p:txBody>
        </p:sp>
      </p:grpSp>
      <p:grpSp>
        <p:nvGrpSpPr>
          <p:cNvPr id="14" name="Group 13">
            <a:extLst>
              <a:ext uri="{FF2B5EF4-FFF2-40B4-BE49-F238E27FC236}">
                <a16:creationId xmlns:a16="http://schemas.microsoft.com/office/drawing/2014/main" id="{E1655E3F-7C55-46A7-9F78-896311B3AE9B}"/>
              </a:ext>
            </a:extLst>
          </p:cNvPr>
          <p:cNvGrpSpPr/>
          <p:nvPr/>
        </p:nvGrpSpPr>
        <p:grpSpPr>
          <a:xfrm>
            <a:off x="8262593" y="2040556"/>
            <a:ext cx="1485953" cy="2818826"/>
            <a:chOff x="6071193" y="2040556"/>
            <a:chExt cx="1485953" cy="2818826"/>
          </a:xfrm>
        </p:grpSpPr>
        <p:sp>
          <p:nvSpPr>
            <p:cNvPr id="59" name="Rectangle 58">
              <a:extLst>
                <a:ext uri="{FF2B5EF4-FFF2-40B4-BE49-F238E27FC236}">
                  <a16:creationId xmlns:a16="http://schemas.microsoft.com/office/drawing/2014/main" id="{8E05604F-E208-4F08-8FE6-A47E782D046C}"/>
                </a:ext>
              </a:extLst>
            </p:cNvPr>
            <p:cNvSpPr/>
            <p:nvPr/>
          </p:nvSpPr>
          <p:spPr>
            <a:xfrm>
              <a:off x="6142861" y="2898765"/>
              <a:ext cx="1368000" cy="1960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Final Data Owners assigned and approved by the Guiding Coali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Final Data Stewards assigned and approved by the Guiding Coali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ata Stewards kick-off train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Chevron 80">
              <a:extLst>
                <a:ext uri="{FF2B5EF4-FFF2-40B4-BE49-F238E27FC236}">
                  <a16:creationId xmlns:a16="http://schemas.microsoft.com/office/drawing/2014/main" id="{C06C8A02-2AF4-47A6-8024-C47DE0DE447E}"/>
                </a:ext>
              </a:extLst>
            </p:cNvPr>
            <p:cNvSpPr/>
            <p:nvPr/>
          </p:nvSpPr>
          <p:spPr bwMode="auto">
            <a:xfrm>
              <a:off x="6071193"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8th GC Oct 3</a:t>
              </a:r>
            </a:p>
          </p:txBody>
        </p:sp>
      </p:grpSp>
      <p:grpSp>
        <p:nvGrpSpPr>
          <p:cNvPr id="13" name="Group 12">
            <a:extLst>
              <a:ext uri="{FF2B5EF4-FFF2-40B4-BE49-F238E27FC236}">
                <a16:creationId xmlns:a16="http://schemas.microsoft.com/office/drawing/2014/main" id="{ABA04CF9-E440-4AF1-969B-B4C4C9A52992}"/>
              </a:ext>
            </a:extLst>
          </p:cNvPr>
          <p:cNvGrpSpPr/>
          <p:nvPr/>
        </p:nvGrpSpPr>
        <p:grpSpPr>
          <a:xfrm>
            <a:off x="10183859" y="2040556"/>
            <a:ext cx="1485953" cy="1879290"/>
            <a:chOff x="7444608" y="2040556"/>
            <a:chExt cx="1485953" cy="1879290"/>
          </a:xfrm>
        </p:grpSpPr>
        <p:sp>
          <p:nvSpPr>
            <p:cNvPr id="55" name="Rectangle 54">
              <a:extLst>
                <a:ext uri="{FF2B5EF4-FFF2-40B4-BE49-F238E27FC236}">
                  <a16:creationId xmlns:a16="http://schemas.microsoft.com/office/drawing/2014/main" id="{337C39BA-4C29-4D81-AEF5-C0170F4CF3A0}"/>
                </a:ext>
              </a:extLst>
            </p:cNvPr>
            <p:cNvSpPr/>
            <p:nvPr/>
          </p:nvSpPr>
          <p:spPr>
            <a:xfrm>
              <a:off x="7524920"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First Data Governance council mee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ata Governance Lunch &amp; learn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Chevron 80">
              <a:extLst>
                <a:ext uri="{FF2B5EF4-FFF2-40B4-BE49-F238E27FC236}">
                  <a16:creationId xmlns:a16="http://schemas.microsoft.com/office/drawing/2014/main" id="{031D962F-492A-42C1-AA44-44CA8059860B}"/>
                </a:ext>
              </a:extLst>
            </p:cNvPr>
            <p:cNvSpPr/>
            <p:nvPr/>
          </p:nvSpPr>
          <p:spPr bwMode="auto">
            <a:xfrm>
              <a:off x="7444608"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DG kick-off 17 Oct</a:t>
              </a:r>
            </a:p>
          </p:txBody>
        </p:sp>
      </p:grpSp>
      <p:sp>
        <p:nvSpPr>
          <p:cNvPr id="37" name="Chevron 10">
            <a:extLst>
              <a:ext uri="{FF2B5EF4-FFF2-40B4-BE49-F238E27FC236}">
                <a16:creationId xmlns:a16="http://schemas.microsoft.com/office/drawing/2014/main" id="{5E9FF9D4-63C9-4497-8103-08ADF0F242EB}"/>
              </a:ext>
            </a:extLst>
          </p:cNvPr>
          <p:cNvSpPr/>
          <p:nvPr/>
        </p:nvSpPr>
        <p:spPr bwMode="auto">
          <a:xfrm>
            <a:off x="569936" y="1728716"/>
            <a:ext cx="11099876" cy="245075"/>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Timeline for relaunching Data Governance</a:t>
            </a:r>
          </a:p>
        </p:txBody>
      </p:sp>
    </p:spTree>
    <p:extLst>
      <p:ext uri="{BB962C8B-B14F-4D97-AF65-F5344CB8AC3E}">
        <p14:creationId xmlns:p14="http://schemas.microsoft.com/office/powerpoint/2010/main" val="409599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182433-CAF8-429C-B1A8-58BDB42BB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5182433-CAF8-429C-B1A8-58BDB42BB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Group 39">
            <a:extLst>
              <a:ext uri="{FF2B5EF4-FFF2-40B4-BE49-F238E27FC236}">
                <a16:creationId xmlns:a16="http://schemas.microsoft.com/office/drawing/2014/main" id="{5EF25F8A-C606-4E5E-8CB6-80006A1B1734}"/>
              </a:ext>
            </a:extLst>
          </p:cNvPr>
          <p:cNvGrpSpPr/>
          <p:nvPr/>
        </p:nvGrpSpPr>
        <p:grpSpPr>
          <a:xfrm>
            <a:off x="575998" y="3800812"/>
            <a:ext cx="4480000" cy="2747469"/>
            <a:chOff x="616366" y="4018913"/>
            <a:chExt cx="4480000" cy="2747469"/>
          </a:xfrm>
        </p:grpSpPr>
        <p:pic>
          <p:nvPicPr>
            <p:cNvPr id="5" name="Picture 4">
              <a:extLst>
                <a:ext uri="{FF2B5EF4-FFF2-40B4-BE49-F238E27FC236}">
                  <a16:creationId xmlns:a16="http://schemas.microsoft.com/office/drawing/2014/main" id="{6B8898DA-FFBF-4FCE-8373-3ED4A79C52BD}"/>
                </a:ext>
              </a:extLst>
            </p:cNvPr>
            <p:cNvPicPr>
              <a:picLocks noChangeAspect="1"/>
            </p:cNvPicPr>
            <p:nvPr/>
          </p:nvPicPr>
          <p:blipFill>
            <a:blip r:embed="rId5"/>
            <a:stretch>
              <a:fillRect/>
            </a:stretch>
          </p:blipFill>
          <p:spPr>
            <a:xfrm>
              <a:off x="616366" y="4246382"/>
              <a:ext cx="4480000" cy="2520000"/>
            </a:xfrm>
            <a:prstGeom prst="rect">
              <a:avLst/>
            </a:prstGeom>
            <a:ln>
              <a:solidFill>
                <a:schemeClr val="accent1"/>
              </a:solidFill>
            </a:ln>
          </p:spPr>
        </p:pic>
        <p:sp>
          <p:nvSpPr>
            <p:cNvPr id="23" name="Rectangle 22">
              <a:extLst>
                <a:ext uri="{FF2B5EF4-FFF2-40B4-BE49-F238E27FC236}">
                  <a16:creationId xmlns:a16="http://schemas.microsoft.com/office/drawing/2014/main" id="{DE4AE53C-15EC-4B4A-8F19-56F2F7EA50C5}"/>
                </a:ext>
              </a:extLst>
            </p:cNvPr>
            <p:cNvSpPr/>
            <p:nvPr/>
          </p:nvSpPr>
          <p:spPr>
            <a:xfrm>
              <a:off x="617166" y="4018913"/>
              <a:ext cx="4478400" cy="22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ife </a:t>
              </a:r>
              <a:r>
                <a:rPr lang="de-DE" err="1">
                  <a:solidFill>
                    <a:schemeClr val="tx1"/>
                  </a:solidFill>
                </a:rPr>
                <a:t>of</a:t>
              </a:r>
              <a:r>
                <a:rPr lang="de-DE">
                  <a:solidFill>
                    <a:schemeClr val="tx1"/>
                  </a:solidFill>
                </a:rPr>
                <a:t> a </a:t>
              </a:r>
              <a:r>
                <a:rPr lang="de-DE" err="1">
                  <a:solidFill>
                    <a:schemeClr val="tx1"/>
                  </a:solidFill>
                </a:rPr>
                <a:t>data</a:t>
              </a:r>
              <a:r>
                <a:rPr lang="de-DE">
                  <a:solidFill>
                    <a:schemeClr val="tx1"/>
                  </a:solidFill>
                </a:rPr>
                <a:t> </a:t>
              </a:r>
              <a:r>
                <a:rPr lang="de-DE" err="1">
                  <a:solidFill>
                    <a:schemeClr val="tx1"/>
                  </a:solidFill>
                </a:rPr>
                <a:t>element</a:t>
              </a:r>
              <a:endParaRPr lang="de-DE">
                <a:solidFill>
                  <a:schemeClr val="tx1"/>
                </a:solidFill>
              </a:endParaRPr>
            </a:p>
          </p:txBody>
        </p:sp>
      </p:grpSp>
      <p:sp>
        <p:nvSpPr>
          <p:cNvPr id="3" name="Title 2">
            <a:extLst>
              <a:ext uri="{FF2B5EF4-FFF2-40B4-BE49-F238E27FC236}">
                <a16:creationId xmlns:a16="http://schemas.microsoft.com/office/drawing/2014/main" id="{956411A2-E1AF-4E27-A28B-A7CCFAB2329A}"/>
              </a:ext>
            </a:extLst>
          </p:cNvPr>
          <p:cNvSpPr>
            <a:spLocks noGrp="1"/>
          </p:cNvSpPr>
          <p:nvPr>
            <p:ph type="ctrTitle"/>
          </p:nvPr>
        </p:nvSpPr>
        <p:spPr>
          <a:xfrm>
            <a:off x="576000" y="368300"/>
            <a:ext cx="11040000" cy="360000"/>
          </a:xfrm>
        </p:spPr>
        <p:txBody>
          <a:bodyPr vert="horz"/>
          <a:lstStyle/>
          <a:p>
            <a:r>
              <a:rPr lang="en-US"/>
              <a:t>Guiding Coalition: Decisions for the Data Governance charter</a:t>
            </a:r>
          </a:p>
        </p:txBody>
      </p:sp>
      <p:grpSp>
        <p:nvGrpSpPr>
          <p:cNvPr id="37" name="Group 36">
            <a:extLst>
              <a:ext uri="{FF2B5EF4-FFF2-40B4-BE49-F238E27FC236}">
                <a16:creationId xmlns:a16="http://schemas.microsoft.com/office/drawing/2014/main" id="{560AE82E-F0BF-41F2-8C31-6C2AF2C257E0}"/>
              </a:ext>
            </a:extLst>
          </p:cNvPr>
          <p:cNvGrpSpPr/>
          <p:nvPr/>
        </p:nvGrpSpPr>
        <p:grpSpPr>
          <a:xfrm>
            <a:off x="575998" y="917972"/>
            <a:ext cx="4480000" cy="2769185"/>
            <a:chOff x="575998" y="1136073"/>
            <a:chExt cx="4480000" cy="2769185"/>
          </a:xfrm>
        </p:grpSpPr>
        <p:pic>
          <p:nvPicPr>
            <p:cNvPr id="6" name="Picture 5">
              <a:extLst>
                <a:ext uri="{FF2B5EF4-FFF2-40B4-BE49-F238E27FC236}">
                  <a16:creationId xmlns:a16="http://schemas.microsoft.com/office/drawing/2014/main" id="{246F3039-A863-4583-AB25-426AD697C001}"/>
                </a:ext>
              </a:extLst>
            </p:cNvPr>
            <p:cNvPicPr>
              <a:picLocks noChangeAspect="1"/>
            </p:cNvPicPr>
            <p:nvPr/>
          </p:nvPicPr>
          <p:blipFill>
            <a:blip r:embed="rId6"/>
            <a:stretch>
              <a:fillRect/>
            </a:stretch>
          </p:blipFill>
          <p:spPr>
            <a:xfrm>
              <a:off x="575998" y="1385258"/>
              <a:ext cx="4480000" cy="2520000"/>
            </a:xfrm>
            <a:prstGeom prst="rect">
              <a:avLst/>
            </a:prstGeom>
            <a:ln>
              <a:solidFill>
                <a:schemeClr val="accent1"/>
              </a:solidFill>
            </a:ln>
          </p:spPr>
        </p:pic>
        <p:sp>
          <p:nvSpPr>
            <p:cNvPr id="21" name="Rectangle 20">
              <a:extLst>
                <a:ext uri="{FF2B5EF4-FFF2-40B4-BE49-F238E27FC236}">
                  <a16:creationId xmlns:a16="http://schemas.microsoft.com/office/drawing/2014/main" id="{C4137BE6-A0C2-42A4-BACB-38082DE6DB2A}"/>
                </a:ext>
              </a:extLst>
            </p:cNvPr>
            <p:cNvSpPr/>
            <p:nvPr/>
          </p:nvSpPr>
          <p:spPr>
            <a:xfrm>
              <a:off x="575998" y="1136073"/>
              <a:ext cx="4480000" cy="22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Data Governance operating models</a:t>
              </a:r>
            </a:p>
          </p:txBody>
        </p:sp>
      </p:grpSp>
      <p:grpSp>
        <p:nvGrpSpPr>
          <p:cNvPr id="35" name="Group 34">
            <a:extLst>
              <a:ext uri="{FF2B5EF4-FFF2-40B4-BE49-F238E27FC236}">
                <a16:creationId xmlns:a16="http://schemas.microsoft.com/office/drawing/2014/main" id="{3FB231F3-1298-42AB-A71A-D79340F2AF98}"/>
              </a:ext>
            </a:extLst>
          </p:cNvPr>
          <p:cNvGrpSpPr/>
          <p:nvPr/>
        </p:nvGrpSpPr>
        <p:grpSpPr>
          <a:xfrm>
            <a:off x="7128650" y="917972"/>
            <a:ext cx="4487350" cy="2769185"/>
            <a:chOff x="7415382" y="1136073"/>
            <a:chExt cx="4487350" cy="2769185"/>
          </a:xfrm>
        </p:grpSpPr>
        <p:pic>
          <p:nvPicPr>
            <p:cNvPr id="7" name="Picture 6">
              <a:extLst>
                <a:ext uri="{FF2B5EF4-FFF2-40B4-BE49-F238E27FC236}">
                  <a16:creationId xmlns:a16="http://schemas.microsoft.com/office/drawing/2014/main" id="{D5B0AD8B-97CD-44CC-A97D-D52DFB9356AB}"/>
                </a:ext>
              </a:extLst>
            </p:cNvPr>
            <p:cNvPicPr>
              <a:picLocks noChangeAspect="1"/>
            </p:cNvPicPr>
            <p:nvPr/>
          </p:nvPicPr>
          <p:blipFill>
            <a:blip r:embed="rId7"/>
            <a:stretch>
              <a:fillRect/>
            </a:stretch>
          </p:blipFill>
          <p:spPr>
            <a:xfrm>
              <a:off x="7415382" y="1385258"/>
              <a:ext cx="4487350" cy="2520000"/>
            </a:xfrm>
            <a:prstGeom prst="rect">
              <a:avLst/>
            </a:prstGeom>
            <a:ln>
              <a:solidFill>
                <a:schemeClr val="accent1"/>
              </a:solidFill>
            </a:ln>
          </p:spPr>
        </p:pic>
        <p:sp>
          <p:nvSpPr>
            <p:cNvPr id="22" name="Rectangle 21">
              <a:extLst>
                <a:ext uri="{FF2B5EF4-FFF2-40B4-BE49-F238E27FC236}">
                  <a16:creationId xmlns:a16="http://schemas.microsoft.com/office/drawing/2014/main" id="{41C33C74-658D-4D7C-9EA8-2A8900292DC2}"/>
                </a:ext>
              </a:extLst>
            </p:cNvPr>
            <p:cNvSpPr/>
            <p:nvPr/>
          </p:nvSpPr>
          <p:spPr>
            <a:xfrm>
              <a:off x="7419857" y="1136073"/>
              <a:ext cx="4478400" cy="22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Assigning Data Owners to data domains</a:t>
              </a:r>
            </a:p>
          </p:txBody>
        </p:sp>
      </p:grpSp>
      <p:grpSp>
        <p:nvGrpSpPr>
          <p:cNvPr id="39" name="Group 38">
            <a:extLst>
              <a:ext uri="{FF2B5EF4-FFF2-40B4-BE49-F238E27FC236}">
                <a16:creationId xmlns:a16="http://schemas.microsoft.com/office/drawing/2014/main" id="{CC6111BA-0895-4733-9CC7-B23E22450F14}"/>
              </a:ext>
            </a:extLst>
          </p:cNvPr>
          <p:cNvGrpSpPr/>
          <p:nvPr/>
        </p:nvGrpSpPr>
        <p:grpSpPr>
          <a:xfrm>
            <a:off x="7136000" y="3800812"/>
            <a:ext cx="4480000" cy="2779915"/>
            <a:chOff x="6769990" y="4018913"/>
            <a:chExt cx="4480000" cy="2779915"/>
          </a:xfrm>
        </p:grpSpPr>
        <p:sp>
          <p:nvSpPr>
            <p:cNvPr id="24" name="Rectangle 23">
              <a:extLst>
                <a:ext uri="{FF2B5EF4-FFF2-40B4-BE49-F238E27FC236}">
                  <a16:creationId xmlns:a16="http://schemas.microsoft.com/office/drawing/2014/main" id="{56CC8B25-1196-4A6A-957D-5BFA3D848693}"/>
                </a:ext>
              </a:extLst>
            </p:cNvPr>
            <p:cNvSpPr/>
            <p:nvPr/>
          </p:nvSpPr>
          <p:spPr>
            <a:xfrm>
              <a:off x="6770790" y="4018913"/>
              <a:ext cx="4478400" cy="22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oposed DG council structure</a:t>
              </a:r>
            </a:p>
          </p:txBody>
        </p:sp>
        <p:pic>
          <p:nvPicPr>
            <p:cNvPr id="15" name="Picture 14">
              <a:extLst>
                <a:ext uri="{FF2B5EF4-FFF2-40B4-BE49-F238E27FC236}">
                  <a16:creationId xmlns:a16="http://schemas.microsoft.com/office/drawing/2014/main" id="{CBC0D0AB-18E6-4494-A8D9-7FB397A92FEC}"/>
                </a:ext>
              </a:extLst>
            </p:cNvPr>
            <p:cNvPicPr>
              <a:picLocks noChangeAspect="1"/>
            </p:cNvPicPr>
            <p:nvPr/>
          </p:nvPicPr>
          <p:blipFill>
            <a:blip r:embed="rId8"/>
            <a:stretch>
              <a:fillRect/>
            </a:stretch>
          </p:blipFill>
          <p:spPr>
            <a:xfrm>
              <a:off x="6769990" y="4278828"/>
              <a:ext cx="4480000" cy="2520000"/>
            </a:xfrm>
            <a:prstGeom prst="rect">
              <a:avLst/>
            </a:prstGeom>
            <a:ln>
              <a:solidFill>
                <a:schemeClr val="accent1"/>
              </a:solidFill>
            </a:ln>
          </p:spPr>
        </p:pic>
      </p:grpSp>
    </p:spTree>
    <p:extLst>
      <p:ext uri="{BB962C8B-B14F-4D97-AF65-F5344CB8AC3E}">
        <p14:creationId xmlns:p14="http://schemas.microsoft.com/office/powerpoint/2010/main" val="2323259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3200" b="0" i="0" u="none" strike="noStrike" kern="1200" cap="none" spc="0" normalizeH="0" baseline="0" noProof="0">
                <a:ln>
                  <a:noFill/>
                </a:ln>
                <a:effectLst/>
                <a:uLnTx/>
                <a:uFillTx/>
                <a:latin typeface="+mn-lt"/>
                <a:ea typeface="+mn-ea"/>
                <a:cs typeface="+mn-cs"/>
              </a:rPr>
              <a:t>Data Strategy Objectives and Use Cases</a:t>
            </a:r>
          </a:p>
        </p:txBody>
      </p:sp>
    </p:spTree>
    <p:extLst>
      <p:ext uri="{BB962C8B-B14F-4D97-AF65-F5344CB8AC3E}">
        <p14:creationId xmlns:p14="http://schemas.microsoft.com/office/powerpoint/2010/main" val="25512863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1307D711-101C-47F5-ABBA-9920F08C36EC}"/>
              </a:ext>
            </a:extLst>
          </p:cNvPr>
          <p:cNvSpPr/>
          <p:nvPr/>
        </p:nvSpPr>
        <p:spPr>
          <a:xfrm rot="16200000">
            <a:off x="2198174" y="3202355"/>
            <a:ext cx="1274010" cy="4916590"/>
          </a:xfrm>
          <a:prstGeom prst="rect">
            <a:avLst/>
          </a:prstGeom>
          <a:solidFill>
            <a:schemeClr val="bg2">
              <a:lumMod val="9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sz="1400">
                <a:solidFill>
                  <a:schemeClr val="tx1"/>
                </a:solidFill>
              </a:rPr>
              <a:t>Requirements</a:t>
            </a:r>
          </a:p>
        </p:txBody>
      </p:sp>
      <p:sp>
        <p:nvSpPr>
          <p:cNvPr id="4" name="Rectangle 3">
            <a:extLst>
              <a:ext uri="{FF2B5EF4-FFF2-40B4-BE49-F238E27FC236}">
                <a16:creationId xmlns:a16="http://schemas.microsoft.com/office/drawing/2014/main" id="{BC164301-199D-4A6C-AA4B-E06B230FB0AD}"/>
              </a:ext>
            </a:extLst>
          </p:cNvPr>
          <p:cNvSpPr/>
          <p:nvPr/>
        </p:nvSpPr>
        <p:spPr>
          <a:xfrm rot="16200000">
            <a:off x="1921152" y="-318990"/>
            <a:ext cx="1828054" cy="4916590"/>
          </a:xfrm>
          <a:prstGeom prst="rect">
            <a:avLst/>
          </a:prstGeom>
          <a:solidFill>
            <a:schemeClr val="bg2">
              <a:lumMod val="9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sz="1400">
                <a:solidFill>
                  <a:schemeClr val="tx1"/>
                </a:solidFill>
              </a:rPr>
              <a:t>Current state</a:t>
            </a:r>
          </a:p>
        </p:txBody>
      </p:sp>
      <p:sp>
        <p:nvSpPr>
          <p:cNvPr id="50" name="Rectangle 49">
            <a:extLst>
              <a:ext uri="{FF2B5EF4-FFF2-40B4-BE49-F238E27FC236}">
                <a16:creationId xmlns:a16="http://schemas.microsoft.com/office/drawing/2014/main" id="{7069004F-229E-44B5-9C03-19B875D89E47}"/>
              </a:ext>
            </a:extLst>
          </p:cNvPr>
          <p:cNvSpPr/>
          <p:nvPr/>
        </p:nvSpPr>
        <p:spPr>
          <a:xfrm rot="16200000">
            <a:off x="2007570" y="1580195"/>
            <a:ext cx="1655222" cy="4916592"/>
          </a:xfrm>
          <a:prstGeom prst="rect">
            <a:avLst/>
          </a:prstGeom>
          <a:solidFill>
            <a:schemeClr val="bg2">
              <a:lumMod val="9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sz="1400">
                <a:solidFill>
                  <a:schemeClr val="tx1"/>
                </a:solidFill>
              </a:rPr>
              <a:t>Data strategy</a:t>
            </a:r>
          </a:p>
        </p:txBody>
      </p:sp>
      <p:sp>
        <p:nvSpPr>
          <p:cNvPr id="101" name="Left Brace 100">
            <a:extLst>
              <a:ext uri="{FF2B5EF4-FFF2-40B4-BE49-F238E27FC236}">
                <a16:creationId xmlns:a16="http://schemas.microsoft.com/office/drawing/2014/main" id="{49BBD298-3DE0-424C-9B64-28F711C20C02}"/>
              </a:ext>
            </a:extLst>
          </p:cNvPr>
          <p:cNvSpPr/>
          <p:nvPr/>
        </p:nvSpPr>
        <p:spPr>
          <a:xfrm rot="10800000">
            <a:off x="5367726" y="1945334"/>
            <a:ext cx="254523" cy="1107997"/>
          </a:xfrm>
          <a:prstGeom prst="leftBrace">
            <a:avLst/>
          </a:prstGeom>
          <a:noFill/>
          <a:ln w="6350" cap="flat" cmpd="sng" algn="ctr">
            <a:solidFill>
              <a:srgbClr val="0069B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2" name="Left Brace 101">
            <a:extLst>
              <a:ext uri="{FF2B5EF4-FFF2-40B4-BE49-F238E27FC236}">
                <a16:creationId xmlns:a16="http://schemas.microsoft.com/office/drawing/2014/main" id="{CD5B3490-BF25-40A6-8A02-D514A94A7790}"/>
              </a:ext>
            </a:extLst>
          </p:cNvPr>
          <p:cNvSpPr/>
          <p:nvPr/>
        </p:nvSpPr>
        <p:spPr>
          <a:xfrm rot="10800000">
            <a:off x="5367729" y="3210880"/>
            <a:ext cx="254523" cy="394474"/>
          </a:xfrm>
          <a:prstGeom prst="leftBrace">
            <a:avLst/>
          </a:prstGeom>
          <a:noFill/>
          <a:ln w="6350" cap="flat" cmpd="sng" algn="ctr">
            <a:solidFill>
              <a:srgbClr val="764AA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 name="Left Brace 102">
            <a:extLst>
              <a:ext uri="{FF2B5EF4-FFF2-40B4-BE49-F238E27FC236}">
                <a16:creationId xmlns:a16="http://schemas.microsoft.com/office/drawing/2014/main" id="{AF73854F-3A2F-4731-98FE-59E216B01CEB}"/>
              </a:ext>
            </a:extLst>
          </p:cNvPr>
          <p:cNvSpPr/>
          <p:nvPr/>
        </p:nvSpPr>
        <p:spPr>
          <a:xfrm rot="10800000">
            <a:off x="5367730" y="3759375"/>
            <a:ext cx="254523" cy="390949"/>
          </a:xfrm>
          <a:prstGeom prst="leftBrace">
            <a:avLst/>
          </a:prstGeom>
          <a:noFill/>
          <a:ln w="6350" cap="flat" cmpd="sng" algn="ctr">
            <a:solidFill>
              <a:srgbClr val="7F7F7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4" name="Left Brace 103">
            <a:extLst>
              <a:ext uri="{FF2B5EF4-FFF2-40B4-BE49-F238E27FC236}">
                <a16:creationId xmlns:a16="http://schemas.microsoft.com/office/drawing/2014/main" id="{4E97BCBD-A591-490B-83F9-6480B1852FE4}"/>
              </a:ext>
            </a:extLst>
          </p:cNvPr>
          <p:cNvSpPr/>
          <p:nvPr/>
        </p:nvSpPr>
        <p:spPr>
          <a:xfrm rot="10800000">
            <a:off x="5367732" y="4307868"/>
            <a:ext cx="254523" cy="558234"/>
          </a:xfrm>
          <a:prstGeom prst="leftBrace">
            <a:avLst/>
          </a:prstGeom>
          <a:noFill/>
          <a:ln w="6350" cap="flat" cmpd="sng" algn="ctr">
            <a:solidFill>
              <a:srgbClr val="63A70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 name="Left Brace 104">
            <a:extLst>
              <a:ext uri="{FF2B5EF4-FFF2-40B4-BE49-F238E27FC236}">
                <a16:creationId xmlns:a16="http://schemas.microsoft.com/office/drawing/2014/main" id="{5808C0EA-62C7-4B93-A4D2-B4016ECCEC95}"/>
              </a:ext>
            </a:extLst>
          </p:cNvPr>
          <p:cNvSpPr/>
          <p:nvPr/>
        </p:nvSpPr>
        <p:spPr>
          <a:xfrm rot="10800000">
            <a:off x="5367733" y="5023645"/>
            <a:ext cx="254523" cy="558233"/>
          </a:xfrm>
          <a:prstGeom prst="leftBrace">
            <a:avLst/>
          </a:prstGeom>
          <a:noFill/>
          <a:ln w="6350" cap="flat" cmpd="sng" algn="ctr">
            <a:solidFill>
              <a:srgbClr val="2BAEA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6" name="Left Brace 105">
            <a:extLst>
              <a:ext uri="{FF2B5EF4-FFF2-40B4-BE49-F238E27FC236}">
                <a16:creationId xmlns:a16="http://schemas.microsoft.com/office/drawing/2014/main" id="{03E70E4C-ED4B-4D25-8766-0699EB944EBD}"/>
              </a:ext>
            </a:extLst>
          </p:cNvPr>
          <p:cNvSpPr/>
          <p:nvPr/>
        </p:nvSpPr>
        <p:spPr>
          <a:xfrm rot="10800000">
            <a:off x="5370643" y="5739422"/>
            <a:ext cx="254523" cy="558232"/>
          </a:xfrm>
          <a:prstGeom prst="leftBrace">
            <a:avLst/>
          </a:prstGeom>
          <a:noFill/>
          <a:ln w="6350" cap="flat" cmpd="sng" algn="ctr">
            <a:solidFill>
              <a:srgbClr val="FFB15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7" name="TextBox 106">
            <a:extLst>
              <a:ext uri="{FF2B5EF4-FFF2-40B4-BE49-F238E27FC236}">
                <a16:creationId xmlns:a16="http://schemas.microsoft.com/office/drawing/2014/main" id="{FF54802F-4CB2-484F-A519-1D8B3ED24F6A}"/>
              </a:ext>
            </a:extLst>
          </p:cNvPr>
          <p:cNvSpPr txBox="1"/>
          <p:nvPr/>
        </p:nvSpPr>
        <p:spPr>
          <a:xfrm>
            <a:off x="5625519" y="1225278"/>
            <a:ext cx="5912784"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Aegon AM business strategy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efining organization mission, strategic goals and objectives, organizational structure and values, and KPIs will help to identify the data asset support needed and enable data teams to prioritize initiatives, make strategic choices and allocate capital</a:t>
            </a:r>
          </a:p>
        </p:txBody>
      </p:sp>
      <p:sp>
        <p:nvSpPr>
          <p:cNvPr id="108" name="TextBox 107">
            <a:extLst>
              <a:ext uri="{FF2B5EF4-FFF2-40B4-BE49-F238E27FC236}">
                <a16:creationId xmlns:a16="http://schemas.microsoft.com/office/drawing/2014/main" id="{13507D78-3279-412F-A4AB-D36784B57829}"/>
              </a:ext>
            </a:extLst>
          </p:cNvPr>
          <p:cNvSpPr txBox="1"/>
          <p:nvPr/>
        </p:nvSpPr>
        <p:spPr>
          <a:xfrm>
            <a:off x="5625519" y="3272613"/>
            <a:ext cx="591278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Data Strategy statement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will act as a blueprint of Aegon AM’s data movement for years to come</a:t>
            </a:r>
          </a:p>
        </p:txBody>
      </p:sp>
      <p:sp>
        <p:nvSpPr>
          <p:cNvPr id="109" name="TextBox 108">
            <a:extLst>
              <a:ext uri="{FF2B5EF4-FFF2-40B4-BE49-F238E27FC236}">
                <a16:creationId xmlns:a16="http://schemas.microsoft.com/office/drawing/2014/main" id="{3CC690DD-D9EC-4B06-8C2F-5C28B9E4F19C}"/>
              </a:ext>
            </a:extLst>
          </p:cNvPr>
          <p:cNvSpPr txBox="1"/>
          <p:nvPr/>
        </p:nvSpPr>
        <p:spPr>
          <a:xfrm>
            <a:off x="5625519" y="3739406"/>
            <a:ext cx="591278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Strategic data objectives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will define the purpose that will help creating an overall vision and set goals and measurable steps to achieve the desired data outcomes. </a:t>
            </a:r>
          </a:p>
        </p:txBody>
      </p:sp>
      <p:sp>
        <p:nvSpPr>
          <p:cNvPr id="110" name="TextBox 109">
            <a:extLst>
              <a:ext uri="{FF2B5EF4-FFF2-40B4-BE49-F238E27FC236}">
                <a16:creationId xmlns:a16="http://schemas.microsoft.com/office/drawing/2014/main" id="{8050D72F-32C8-4F23-8B7C-68A4DCC8EFF3}"/>
              </a:ext>
            </a:extLst>
          </p:cNvPr>
          <p:cNvSpPr txBox="1"/>
          <p:nvPr/>
        </p:nvSpPr>
        <p:spPr>
          <a:xfrm>
            <a:off x="5625519" y="4371541"/>
            <a:ext cx="591278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Design principles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will act as guidance for the target state design and work as a compass for Aegon AM in operationalization of the data strategy</a:t>
            </a:r>
          </a:p>
        </p:txBody>
      </p:sp>
      <p:sp>
        <p:nvSpPr>
          <p:cNvPr id="111" name="TextBox 110">
            <a:extLst>
              <a:ext uri="{FF2B5EF4-FFF2-40B4-BE49-F238E27FC236}">
                <a16:creationId xmlns:a16="http://schemas.microsoft.com/office/drawing/2014/main" id="{FC53D220-BF08-4471-ABE2-9FA6B3A98F81}"/>
              </a:ext>
            </a:extLst>
          </p:cNvPr>
          <p:cNvSpPr txBox="1"/>
          <p:nvPr/>
        </p:nvSpPr>
        <p:spPr>
          <a:xfrm>
            <a:off x="5625519" y="5087318"/>
            <a:ext cx="591278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Organizational capabilities requirements </a:t>
            </a:r>
            <a:r>
              <a:rPr kumimoji="0" lang="en-US" sz="1100" b="0" i="1" u="none" strike="noStrike" kern="1200" cap="none" spc="0" normalizeH="0" baseline="0" noProof="0">
                <a:ln>
                  <a:noFill/>
                </a:ln>
                <a:solidFill>
                  <a:srgbClr val="000000"/>
                </a:solidFill>
                <a:effectLst/>
                <a:uLnTx/>
                <a:uFillTx/>
                <a:latin typeface="Calibri" panose="020F0502020204030204"/>
                <a:ea typeface="+mn-ea"/>
                <a:cs typeface="+mn-cs"/>
              </a:rPr>
              <a:t>will define the necessary people skills, roles and responsibilities, processes and methods, and performance and metrics to execute the new strategy</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TextBox 111">
            <a:extLst>
              <a:ext uri="{FF2B5EF4-FFF2-40B4-BE49-F238E27FC236}">
                <a16:creationId xmlns:a16="http://schemas.microsoft.com/office/drawing/2014/main" id="{9BBDC167-190E-4DA9-9A92-EC199982D7C7}"/>
              </a:ext>
            </a:extLst>
          </p:cNvPr>
          <p:cNvSpPr txBox="1"/>
          <p:nvPr/>
        </p:nvSpPr>
        <p:spPr>
          <a:xfrm>
            <a:off x="5625519" y="5803094"/>
            <a:ext cx="591278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Data foundation requirements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will describe the technical methods and processes that will drive the actions and decisions of the data teams  </a:t>
            </a:r>
          </a:p>
        </p:txBody>
      </p:sp>
      <p:sp>
        <p:nvSpPr>
          <p:cNvPr id="30" name="Title 5">
            <a:extLst>
              <a:ext uri="{FF2B5EF4-FFF2-40B4-BE49-F238E27FC236}">
                <a16:creationId xmlns:a16="http://schemas.microsoft.com/office/drawing/2014/main" id="{9644C4DF-389A-4593-AEBD-655260BDE19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The data strategy house framework was taken as basis in building the bedrock of the new AAM data strategy </a:t>
            </a:r>
            <a:endParaRPr kumimoji="0" lang="nl-NL" sz="2800" b="0" i="0" u="none" strike="noStrike" kern="1200" cap="none" spc="0" normalizeH="0" baseline="0" noProof="0">
              <a:ln>
                <a:noFill/>
              </a:ln>
              <a:solidFill>
                <a:srgbClr val="0069B4"/>
              </a:solidFill>
              <a:effectLst/>
              <a:uLnTx/>
              <a:uFillTx/>
              <a:latin typeface="Calibri Light" panose="020F0302020204030204"/>
              <a:ea typeface="+mj-ea"/>
              <a:cs typeface="+mj-cs"/>
            </a:endParaRPr>
          </a:p>
        </p:txBody>
      </p:sp>
      <p:sp>
        <p:nvSpPr>
          <p:cNvPr id="33" name="Rectangle 32">
            <a:extLst>
              <a:ext uri="{FF2B5EF4-FFF2-40B4-BE49-F238E27FC236}">
                <a16:creationId xmlns:a16="http://schemas.microsoft.com/office/drawing/2014/main" id="{8C5A085B-7172-428F-A22A-5188476EADA0}"/>
              </a:ext>
            </a:extLst>
          </p:cNvPr>
          <p:cNvSpPr/>
          <p:nvPr/>
        </p:nvSpPr>
        <p:spPr>
          <a:xfrm>
            <a:off x="702515" y="3210880"/>
            <a:ext cx="4590964" cy="390949"/>
          </a:xfrm>
          <a:prstGeom prst="rect">
            <a:avLst/>
          </a:prstGeom>
          <a:solidFill>
            <a:srgbClr val="764AA0"/>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Strategy statement</a:t>
            </a:r>
          </a:p>
        </p:txBody>
      </p:sp>
      <p:grpSp>
        <p:nvGrpSpPr>
          <p:cNvPr id="34" name="Group 33">
            <a:extLst>
              <a:ext uri="{FF2B5EF4-FFF2-40B4-BE49-F238E27FC236}">
                <a16:creationId xmlns:a16="http://schemas.microsoft.com/office/drawing/2014/main" id="{778E22ED-D7C8-4B25-B3E7-CFA1DC6F66C9}"/>
              </a:ext>
            </a:extLst>
          </p:cNvPr>
          <p:cNvGrpSpPr/>
          <p:nvPr/>
        </p:nvGrpSpPr>
        <p:grpSpPr>
          <a:xfrm>
            <a:off x="702520" y="3759376"/>
            <a:ext cx="4590957" cy="390949"/>
            <a:chOff x="587378" y="3251471"/>
            <a:chExt cx="4853568" cy="511425"/>
          </a:xfrm>
          <a:solidFill>
            <a:srgbClr val="FFFFFF">
              <a:lumMod val="50000"/>
            </a:srgbClr>
          </a:solidFill>
        </p:grpSpPr>
        <p:sp>
          <p:nvSpPr>
            <p:cNvPr id="43" name="Rectangle 42">
              <a:extLst>
                <a:ext uri="{FF2B5EF4-FFF2-40B4-BE49-F238E27FC236}">
                  <a16:creationId xmlns:a16="http://schemas.microsoft.com/office/drawing/2014/main" id="{56E7A422-0CE2-4BFE-8455-9D102554D2DD}"/>
                </a:ext>
              </a:extLst>
            </p:cNvPr>
            <p:cNvSpPr/>
            <p:nvPr/>
          </p:nvSpPr>
          <p:spPr>
            <a:xfrm>
              <a:off x="587378" y="3251471"/>
              <a:ext cx="1552610"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1</a:t>
              </a:r>
            </a:p>
          </p:txBody>
        </p:sp>
        <p:sp>
          <p:nvSpPr>
            <p:cNvPr id="44" name="Rectangle 43">
              <a:extLst>
                <a:ext uri="{FF2B5EF4-FFF2-40B4-BE49-F238E27FC236}">
                  <a16:creationId xmlns:a16="http://schemas.microsoft.com/office/drawing/2014/main" id="{8025E8D4-F7AC-48E7-AE3A-3910DD63EF17}"/>
                </a:ext>
              </a:extLst>
            </p:cNvPr>
            <p:cNvSpPr/>
            <p:nvPr/>
          </p:nvSpPr>
          <p:spPr>
            <a:xfrm>
              <a:off x="2237857" y="3251471"/>
              <a:ext cx="1552610"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2</a:t>
              </a:r>
            </a:p>
          </p:txBody>
        </p:sp>
        <p:sp>
          <p:nvSpPr>
            <p:cNvPr id="45" name="Rectangle 44">
              <a:extLst>
                <a:ext uri="{FF2B5EF4-FFF2-40B4-BE49-F238E27FC236}">
                  <a16:creationId xmlns:a16="http://schemas.microsoft.com/office/drawing/2014/main" id="{8285808A-B6BF-4ED0-8F1D-535CDBD37AF9}"/>
                </a:ext>
              </a:extLst>
            </p:cNvPr>
            <p:cNvSpPr/>
            <p:nvPr/>
          </p:nvSpPr>
          <p:spPr>
            <a:xfrm>
              <a:off x="3888336" y="3251471"/>
              <a:ext cx="1552610"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3</a:t>
              </a:r>
            </a:p>
          </p:txBody>
        </p:sp>
      </p:grpSp>
      <p:sp>
        <p:nvSpPr>
          <p:cNvPr id="35" name="Rectangle 34">
            <a:extLst>
              <a:ext uri="{FF2B5EF4-FFF2-40B4-BE49-F238E27FC236}">
                <a16:creationId xmlns:a16="http://schemas.microsoft.com/office/drawing/2014/main" id="{55C62ACA-3783-467C-BFAA-B9E6267EFB96}"/>
              </a:ext>
            </a:extLst>
          </p:cNvPr>
          <p:cNvSpPr/>
          <p:nvPr/>
        </p:nvSpPr>
        <p:spPr>
          <a:xfrm>
            <a:off x="702515" y="5739426"/>
            <a:ext cx="4590964" cy="558230"/>
          </a:xfrm>
          <a:prstGeom prst="rect">
            <a:avLst/>
          </a:prstGeom>
          <a:solidFill>
            <a:srgbClr val="F27D00">
              <a:lumMod val="60000"/>
              <a:lumOff val="4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Foundation requirements</a:t>
            </a:r>
          </a:p>
        </p:txBody>
      </p:sp>
      <p:sp>
        <p:nvSpPr>
          <p:cNvPr id="36" name="Rectangle 35">
            <a:extLst>
              <a:ext uri="{FF2B5EF4-FFF2-40B4-BE49-F238E27FC236}">
                <a16:creationId xmlns:a16="http://schemas.microsoft.com/office/drawing/2014/main" id="{63337981-25E1-4370-BF55-2ED74734F6A9}"/>
              </a:ext>
            </a:extLst>
          </p:cNvPr>
          <p:cNvSpPr/>
          <p:nvPr/>
        </p:nvSpPr>
        <p:spPr>
          <a:xfrm>
            <a:off x="702515" y="5023649"/>
            <a:ext cx="4590964" cy="558230"/>
          </a:xfrm>
          <a:prstGeom prst="rect">
            <a:avLst/>
          </a:prstGeom>
          <a:solidFill>
            <a:srgbClr val="2BAEA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Organizational capabilities requirements</a:t>
            </a:r>
          </a:p>
        </p:txBody>
      </p:sp>
      <p:grpSp>
        <p:nvGrpSpPr>
          <p:cNvPr id="37" name="Group 36">
            <a:extLst>
              <a:ext uri="{FF2B5EF4-FFF2-40B4-BE49-F238E27FC236}">
                <a16:creationId xmlns:a16="http://schemas.microsoft.com/office/drawing/2014/main" id="{1630328A-3325-4226-AEA5-E33F5C60B387}"/>
              </a:ext>
            </a:extLst>
          </p:cNvPr>
          <p:cNvGrpSpPr/>
          <p:nvPr/>
        </p:nvGrpSpPr>
        <p:grpSpPr>
          <a:xfrm>
            <a:off x="702515" y="4307872"/>
            <a:ext cx="4590959" cy="558230"/>
            <a:chOff x="587372" y="3938694"/>
            <a:chExt cx="4853572" cy="511425"/>
          </a:xfrm>
          <a:solidFill>
            <a:schemeClr val="accent5"/>
          </a:solidFill>
        </p:grpSpPr>
        <p:sp>
          <p:nvSpPr>
            <p:cNvPr id="38" name="Rectangle 37">
              <a:extLst>
                <a:ext uri="{FF2B5EF4-FFF2-40B4-BE49-F238E27FC236}">
                  <a16:creationId xmlns:a16="http://schemas.microsoft.com/office/drawing/2014/main" id="{E9C21F76-706A-4D04-A9C1-5FDD544B598F}"/>
                </a:ext>
              </a:extLst>
            </p:cNvPr>
            <p:cNvSpPr/>
            <p:nvPr/>
          </p:nvSpPr>
          <p:spPr>
            <a:xfrm>
              <a:off x="58737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1</a:t>
              </a:r>
            </a:p>
          </p:txBody>
        </p:sp>
        <p:sp>
          <p:nvSpPr>
            <p:cNvPr id="39" name="Rectangle 38">
              <a:extLst>
                <a:ext uri="{FF2B5EF4-FFF2-40B4-BE49-F238E27FC236}">
                  <a16:creationId xmlns:a16="http://schemas.microsoft.com/office/drawing/2014/main" id="{B19846D2-6D12-480B-A165-AECA3FD59BA6}"/>
                </a:ext>
              </a:extLst>
            </p:cNvPr>
            <p:cNvSpPr/>
            <p:nvPr/>
          </p:nvSpPr>
          <p:spPr>
            <a:xfrm>
              <a:off x="156973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2</a:t>
              </a:r>
            </a:p>
          </p:txBody>
        </p:sp>
        <p:sp>
          <p:nvSpPr>
            <p:cNvPr id="40" name="Rectangle 39">
              <a:extLst>
                <a:ext uri="{FF2B5EF4-FFF2-40B4-BE49-F238E27FC236}">
                  <a16:creationId xmlns:a16="http://schemas.microsoft.com/office/drawing/2014/main" id="{D8E48CD7-171C-4177-94B5-69F7ED26B2AF}"/>
                </a:ext>
              </a:extLst>
            </p:cNvPr>
            <p:cNvSpPr/>
            <p:nvPr/>
          </p:nvSpPr>
          <p:spPr>
            <a:xfrm>
              <a:off x="255210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3</a:t>
              </a:r>
            </a:p>
          </p:txBody>
        </p:sp>
        <p:sp>
          <p:nvSpPr>
            <p:cNvPr id="41" name="Rectangle 40">
              <a:extLst>
                <a:ext uri="{FF2B5EF4-FFF2-40B4-BE49-F238E27FC236}">
                  <a16:creationId xmlns:a16="http://schemas.microsoft.com/office/drawing/2014/main" id="{BB720A61-0E83-479F-B5A1-5A41B59E0A4C}"/>
                </a:ext>
              </a:extLst>
            </p:cNvPr>
            <p:cNvSpPr/>
            <p:nvPr/>
          </p:nvSpPr>
          <p:spPr>
            <a:xfrm>
              <a:off x="353446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4</a:t>
              </a:r>
            </a:p>
          </p:txBody>
        </p:sp>
        <p:sp>
          <p:nvSpPr>
            <p:cNvPr id="42" name="Rectangle 41">
              <a:extLst>
                <a:ext uri="{FF2B5EF4-FFF2-40B4-BE49-F238E27FC236}">
                  <a16:creationId xmlns:a16="http://schemas.microsoft.com/office/drawing/2014/main" id="{8477F4E0-2CC0-4D16-8603-6C306763322C}"/>
                </a:ext>
              </a:extLst>
            </p:cNvPr>
            <p:cNvSpPr/>
            <p:nvPr/>
          </p:nvSpPr>
          <p:spPr>
            <a:xfrm>
              <a:off x="4516831"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5</a:t>
              </a:r>
            </a:p>
          </p:txBody>
        </p:sp>
      </p:grpSp>
      <p:grpSp>
        <p:nvGrpSpPr>
          <p:cNvPr id="2" name="Group 1">
            <a:extLst>
              <a:ext uri="{FF2B5EF4-FFF2-40B4-BE49-F238E27FC236}">
                <a16:creationId xmlns:a16="http://schemas.microsoft.com/office/drawing/2014/main" id="{BE8AAC6D-0FC2-4833-BE10-E04E39F898CF}"/>
              </a:ext>
            </a:extLst>
          </p:cNvPr>
          <p:cNvGrpSpPr/>
          <p:nvPr/>
        </p:nvGrpSpPr>
        <p:grpSpPr>
          <a:xfrm>
            <a:off x="702515" y="1229560"/>
            <a:ext cx="4590964" cy="1823773"/>
            <a:chOff x="603658" y="1229560"/>
            <a:chExt cx="4590964" cy="1823773"/>
          </a:xfrm>
        </p:grpSpPr>
        <p:sp>
          <p:nvSpPr>
            <p:cNvPr id="32" name="Isosceles Triangle 31">
              <a:extLst>
                <a:ext uri="{FF2B5EF4-FFF2-40B4-BE49-F238E27FC236}">
                  <a16:creationId xmlns:a16="http://schemas.microsoft.com/office/drawing/2014/main" id="{E03C1374-42E0-4F9E-9A83-46CD1AB62062}"/>
                </a:ext>
              </a:extLst>
            </p:cNvPr>
            <p:cNvSpPr/>
            <p:nvPr/>
          </p:nvSpPr>
          <p:spPr>
            <a:xfrm>
              <a:off x="603658" y="1229560"/>
              <a:ext cx="4590964" cy="558230"/>
            </a:xfrm>
            <a:prstGeom prst="triangle">
              <a:avLst>
                <a:gd name="adj" fmla="val 49754"/>
              </a:avLst>
            </a:prstGeom>
            <a:solidFill>
              <a:schemeClr val="tx2"/>
            </a:solidFill>
            <a:ln w="25400" cap="flat" cmpd="sng" algn="ctr">
              <a:noFill/>
              <a:prstDash val="solid"/>
            </a:ln>
            <a:effectLst/>
          </p:spPr>
          <p:txBody>
            <a:bodyPr lIns="0" tIns="108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mn-ea"/>
                  <a:cs typeface="+mn-cs"/>
                </a:rPr>
                <a:t>Aegon AM business strategy </a:t>
              </a:r>
            </a:p>
          </p:txBody>
        </p:sp>
        <p:grpSp>
          <p:nvGrpSpPr>
            <p:cNvPr id="46" name="Group 45">
              <a:extLst>
                <a:ext uri="{FF2B5EF4-FFF2-40B4-BE49-F238E27FC236}">
                  <a16:creationId xmlns:a16="http://schemas.microsoft.com/office/drawing/2014/main" id="{0C9787A4-92C4-49EE-AD1D-28258BE08886}"/>
                </a:ext>
              </a:extLst>
            </p:cNvPr>
            <p:cNvGrpSpPr/>
            <p:nvPr/>
          </p:nvGrpSpPr>
          <p:grpSpPr>
            <a:xfrm>
              <a:off x="603663" y="1945337"/>
              <a:ext cx="4590957" cy="1107996"/>
              <a:chOff x="587378" y="3251471"/>
              <a:chExt cx="4853568" cy="511425"/>
            </a:xfrm>
            <a:solidFill>
              <a:schemeClr val="accent1"/>
            </a:solidFill>
          </p:grpSpPr>
          <p:sp>
            <p:nvSpPr>
              <p:cNvPr id="47" name="Rectangle 46">
                <a:extLst>
                  <a:ext uri="{FF2B5EF4-FFF2-40B4-BE49-F238E27FC236}">
                    <a16:creationId xmlns:a16="http://schemas.microsoft.com/office/drawing/2014/main" id="{29ED66BB-63BD-4E0C-B102-AB6F8C5EBFD3}"/>
                  </a:ext>
                </a:extLst>
              </p:cNvPr>
              <p:cNvSpPr/>
              <p:nvPr/>
            </p:nvSpPr>
            <p:spPr>
              <a:xfrm>
                <a:off x="587378" y="3251471"/>
                <a:ext cx="1552610"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egon Group Data strategy </a:t>
                </a:r>
              </a:p>
            </p:txBody>
          </p:sp>
          <p:sp>
            <p:nvSpPr>
              <p:cNvPr id="48" name="Rectangle 47">
                <a:extLst>
                  <a:ext uri="{FF2B5EF4-FFF2-40B4-BE49-F238E27FC236}">
                    <a16:creationId xmlns:a16="http://schemas.microsoft.com/office/drawing/2014/main" id="{9B17D629-34EE-47AC-813A-332EF8B6C9EB}"/>
                  </a:ext>
                </a:extLst>
              </p:cNvPr>
              <p:cNvSpPr/>
              <p:nvPr/>
            </p:nvSpPr>
            <p:spPr>
              <a:xfrm>
                <a:off x="2237857" y="3251471"/>
                <a:ext cx="1552610"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Current state</a:t>
                </a:r>
              </a:p>
            </p:txBody>
          </p:sp>
          <p:sp>
            <p:nvSpPr>
              <p:cNvPr id="49" name="Rectangle 48">
                <a:extLst>
                  <a:ext uri="{FF2B5EF4-FFF2-40B4-BE49-F238E27FC236}">
                    <a16:creationId xmlns:a16="http://schemas.microsoft.com/office/drawing/2014/main" id="{A3745FC8-E253-425E-9483-1F82AD67B922}"/>
                  </a:ext>
                </a:extLst>
              </p:cNvPr>
              <p:cNvSpPr/>
              <p:nvPr/>
            </p:nvSpPr>
            <p:spPr>
              <a:xfrm>
                <a:off x="3888336" y="3251471"/>
                <a:ext cx="1552610"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External factors</a:t>
                </a:r>
              </a:p>
            </p:txBody>
          </p:sp>
        </p:grpSp>
      </p:grpSp>
      <p:sp>
        <p:nvSpPr>
          <p:cNvPr id="51" name="Left Brace 50">
            <a:extLst>
              <a:ext uri="{FF2B5EF4-FFF2-40B4-BE49-F238E27FC236}">
                <a16:creationId xmlns:a16="http://schemas.microsoft.com/office/drawing/2014/main" id="{47C180F4-9F0E-4A39-8900-ACDD745FA01F}"/>
              </a:ext>
            </a:extLst>
          </p:cNvPr>
          <p:cNvSpPr/>
          <p:nvPr/>
        </p:nvSpPr>
        <p:spPr>
          <a:xfrm rot="10800000">
            <a:off x="5367726" y="1225279"/>
            <a:ext cx="254523" cy="558235"/>
          </a:xfrm>
          <a:prstGeom prst="leftBrace">
            <a:avLst/>
          </a:prstGeom>
          <a:noFill/>
          <a:ln w="6350" cap="flat" cmpd="sng" algn="ctr">
            <a:solidFill>
              <a:srgbClr val="001F5B"/>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34571A47-7370-4B76-837B-777EC133ED0F}"/>
              </a:ext>
            </a:extLst>
          </p:cNvPr>
          <p:cNvSpPr txBox="1"/>
          <p:nvPr/>
        </p:nvSpPr>
        <p:spPr>
          <a:xfrm>
            <a:off x="5625518" y="1945336"/>
            <a:ext cx="591278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Aegon Group Data strategy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will provide support on understanding the group’s data focus, IT investments and way of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Current state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will help to take a snapshot of the Aegon AM on organizational readiness, business processes, data management practices, data assets and technology ass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Calibri" panose="020F0502020204030204"/>
                <a:ea typeface="+mn-ea"/>
                <a:cs typeface="+mn-cs"/>
              </a:rPr>
              <a:t>External factors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nclude technology and regulatory developments as well as the market pressure and will support painting a holistic view of how data is and should be used to stay competitive</a:t>
            </a:r>
          </a:p>
        </p:txBody>
      </p:sp>
    </p:spTree>
    <p:extLst>
      <p:ext uri="{BB962C8B-B14F-4D97-AF65-F5344CB8AC3E}">
        <p14:creationId xmlns:p14="http://schemas.microsoft.com/office/powerpoint/2010/main" val="9687839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182433-CAF8-429C-B1A8-58BDB42BB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5182433-CAF8-429C-B1A8-58BDB42BB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56411A2-E1AF-4E27-A28B-A7CCFAB2329A}"/>
              </a:ext>
            </a:extLst>
          </p:cNvPr>
          <p:cNvSpPr>
            <a:spLocks noGrp="1"/>
          </p:cNvSpPr>
          <p:nvPr>
            <p:ph type="ctrTitle"/>
          </p:nvPr>
        </p:nvSpPr>
        <p:spPr/>
        <p:txBody>
          <a:bodyPr vert="horz"/>
          <a:lstStyle/>
          <a:p>
            <a:r>
              <a:rPr lang="en-US"/>
              <a:t>AAM’s Data Strategy</a:t>
            </a:r>
          </a:p>
        </p:txBody>
      </p:sp>
      <p:pic>
        <p:nvPicPr>
          <p:cNvPr id="146" name="Picture 145">
            <a:extLst>
              <a:ext uri="{FF2B5EF4-FFF2-40B4-BE49-F238E27FC236}">
                <a16:creationId xmlns:a16="http://schemas.microsoft.com/office/drawing/2014/main" id="{F9488012-CD93-47E6-B850-715DE55AF22A}"/>
              </a:ext>
            </a:extLst>
          </p:cNvPr>
          <p:cNvPicPr>
            <a:picLocks noChangeAspect="1"/>
          </p:cNvPicPr>
          <p:nvPr/>
        </p:nvPicPr>
        <p:blipFill>
          <a:blip r:embed="rId5">
            <a:alphaModFix/>
          </a:blip>
          <a:stretch>
            <a:fillRect/>
          </a:stretch>
        </p:blipFill>
        <p:spPr>
          <a:xfrm>
            <a:off x="588817" y="5784035"/>
            <a:ext cx="3526342" cy="637025"/>
          </a:xfrm>
          <a:prstGeom prst="rect">
            <a:avLst/>
          </a:prstGeom>
        </p:spPr>
      </p:pic>
      <p:grpSp>
        <p:nvGrpSpPr>
          <p:cNvPr id="147" name="Group 146">
            <a:extLst>
              <a:ext uri="{FF2B5EF4-FFF2-40B4-BE49-F238E27FC236}">
                <a16:creationId xmlns:a16="http://schemas.microsoft.com/office/drawing/2014/main" id="{CB40E200-FE89-483B-A1E7-474A23A2D4AC}"/>
              </a:ext>
            </a:extLst>
          </p:cNvPr>
          <p:cNvGrpSpPr/>
          <p:nvPr/>
        </p:nvGrpSpPr>
        <p:grpSpPr>
          <a:xfrm>
            <a:off x="588818" y="1684268"/>
            <a:ext cx="10969095" cy="4048610"/>
            <a:chOff x="588818" y="585207"/>
            <a:chExt cx="10969095" cy="4892483"/>
          </a:xfrm>
        </p:grpSpPr>
        <p:sp>
          <p:nvSpPr>
            <p:cNvPr id="148" name="Rectangle 147">
              <a:extLst>
                <a:ext uri="{FF2B5EF4-FFF2-40B4-BE49-F238E27FC236}">
                  <a16:creationId xmlns:a16="http://schemas.microsoft.com/office/drawing/2014/main" id="{7DCF58EF-89F7-4FA2-8AF2-6B86E0C3D1B1}"/>
                </a:ext>
              </a:extLst>
            </p:cNvPr>
            <p:cNvSpPr/>
            <p:nvPr/>
          </p:nvSpPr>
          <p:spPr>
            <a:xfrm rot="16200000">
              <a:off x="3754661" y="-2325562"/>
              <a:ext cx="4637409" cy="10969095"/>
            </a:xfrm>
            <a:prstGeom prst="rect">
              <a:avLst/>
            </a:prstGeom>
            <a:solidFill>
              <a:schemeClr val="bg2">
                <a:lumMod val="95000"/>
              </a:schemeClr>
            </a:solid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ata strategy</a:t>
              </a:r>
            </a:p>
          </p:txBody>
        </p:sp>
        <p:sp>
          <p:nvSpPr>
            <p:cNvPr id="149" name="Rectangle 148">
              <a:extLst>
                <a:ext uri="{FF2B5EF4-FFF2-40B4-BE49-F238E27FC236}">
                  <a16:creationId xmlns:a16="http://schemas.microsoft.com/office/drawing/2014/main" id="{1345C19A-3E23-4620-AA08-2EE0230C6AC0}"/>
                </a:ext>
              </a:extLst>
            </p:cNvPr>
            <p:cNvSpPr/>
            <p:nvPr/>
          </p:nvSpPr>
          <p:spPr>
            <a:xfrm>
              <a:off x="1242041" y="963591"/>
              <a:ext cx="9858350" cy="1551445"/>
            </a:xfrm>
            <a:prstGeom prst="rect">
              <a:avLst/>
            </a:prstGeom>
            <a:solidFill>
              <a:srgbClr val="764AA0"/>
            </a:solidFill>
            <a:ln w="25400" cap="flat" cmpd="sng" algn="ctr">
              <a:noFill/>
              <a:prstDash val="solid"/>
            </a:ln>
            <a:effectLst/>
          </p:spPr>
          <p:txBody>
            <a:bodyPr numCol="1" rtlCol="0" anchor="t"/>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Data Strategy statement</a:t>
              </a:r>
            </a:p>
            <a:p>
              <a:pPr marL="0" marR="0" lvl="0" indent="0" algn="l"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helping colleagues and clients live their best lives by becoming their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trusted partner</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 The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shared ambition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among AAM departments is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 each of the business data domains to move from gut-feel management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 The first step is to move from the current data silos to a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single source of truth for operational and investment data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 business processes. This will make AAM an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When the foundational work is done, the data strategy should be evaluated and updated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150" name="Rectangle 149">
              <a:extLst>
                <a:ext uri="{FF2B5EF4-FFF2-40B4-BE49-F238E27FC236}">
                  <a16:creationId xmlns:a16="http://schemas.microsoft.com/office/drawing/2014/main" id="{F2F4CFA9-0E9C-4325-A2C8-DB0A79D3AB37}"/>
                </a:ext>
              </a:extLst>
            </p:cNvPr>
            <p:cNvSpPr/>
            <p:nvPr/>
          </p:nvSpPr>
          <p:spPr>
            <a:xfrm>
              <a:off x="1240381" y="4973369"/>
              <a:ext cx="9858350" cy="456460"/>
            </a:xfrm>
            <a:prstGeom prst="rect">
              <a:avLst/>
            </a:prstGeom>
            <a:solidFill>
              <a:schemeClr val="tx2"/>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Use cases</a:t>
              </a:r>
            </a:p>
          </p:txBody>
        </p:sp>
        <p:pic>
          <p:nvPicPr>
            <p:cNvPr id="151" name="Picture 150">
              <a:extLst>
                <a:ext uri="{FF2B5EF4-FFF2-40B4-BE49-F238E27FC236}">
                  <a16:creationId xmlns:a16="http://schemas.microsoft.com/office/drawing/2014/main" id="{00A863FF-827C-4D76-BBB8-26840DFFB53F}"/>
                </a:ext>
              </a:extLst>
            </p:cNvPr>
            <p:cNvPicPr>
              <a:picLocks noChangeAspect="1"/>
            </p:cNvPicPr>
            <p:nvPr/>
          </p:nvPicPr>
          <p:blipFill>
            <a:blip r:embed="rId6"/>
            <a:stretch>
              <a:fillRect/>
            </a:stretch>
          </p:blipFill>
          <p:spPr>
            <a:xfrm>
              <a:off x="10851866" y="585207"/>
              <a:ext cx="691942" cy="644606"/>
            </a:xfrm>
            <a:prstGeom prst="rect">
              <a:avLst/>
            </a:prstGeom>
          </p:spPr>
        </p:pic>
        <p:grpSp>
          <p:nvGrpSpPr>
            <p:cNvPr id="152" name="Group 151">
              <a:extLst>
                <a:ext uri="{FF2B5EF4-FFF2-40B4-BE49-F238E27FC236}">
                  <a16:creationId xmlns:a16="http://schemas.microsoft.com/office/drawing/2014/main" id="{43B0132E-0165-436A-8E6B-95E56C8C31E6}"/>
                </a:ext>
              </a:extLst>
            </p:cNvPr>
            <p:cNvGrpSpPr/>
            <p:nvPr/>
          </p:nvGrpSpPr>
          <p:grpSpPr>
            <a:xfrm>
              <a:off x="1140301" y="3262027"/>
              <a:ext cx="10067638" cy="1699625"/>
              <a:chOff x="1140300" y="2844013"/>
              <a:chExt cx="10064250" cy="1423095"/>
            </a:xfrm>
          </p:grpSpPr>
          <p:sp>
            <p:nvSpPr>
              <p:cNvPr id="177" name="Down Arrow 61">
                <a:extLst>
                  <a:ext uri="{FF2B5EF4-FFF2-40B4-BE49-F238E27FC236}">
                    <a16:creationId xmlns:a16="http://schemas.microsoft.com/office/drawing/2014/main" id="{65C9C67D-792F-47B8-89BB-9591AAF84567}"/>
                  </a:ext>
                </a:extLst>
              </p:cNvPr>
              <p:cNvSpPr/>
              <p:nvPr/>
            </p:nvSpPr>
            <p:spPr>
              <a:xfrm>
                <a:off x="1140300"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Down Arrow 63">
                <a:extLst>
                  <a:ext uri="{FF2B5EF4-FFF2-40B4-BE49-F238E27FC236}">
                    <a16:creationId xmlns:a16="http://schemas.microsoft.com/office/drawing/2014/main" id="{3A754BA3-9E9D-4014-BAF6-9C29D2D3FED6}"/>
                  </a:ext>
                </a:extLst>
              </p:cNvPr>
              <p:cNvSpPr/>
              <p:nvPr/>
            </p:nvSpPr>
            <p:spPr>
              <a:xfrm>
                <a:off x="2747418"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Down Arrow 64">
                <a:extLst>
                  <a:ext uri="{FF2B5EF4-FFF2-40B4-BE49-F238E27FC236}">
                    <a16:creationId xmlns:a16="http://schemas.microsoft.com/office/drawing/2014/main" id="{287EC6A2-C098-4D50-A2AB-3D6E23EA1DA1}"/>
                  </a:ext>
                </a:extLst>
              </p:cNvPr>
              <p:cNvSpPr/>
              <p:nvPr/>
            </p:nvSpPr>
            <p:spPr>
              <a:xfrm>
                <a:off x="4354536"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Down Arrow 65">
                <a:extLst>
                  <a:ext uri="{FF2B5EF4-FFF2-40B4-BE49-F238E27FC236}">
                    <a16:creationId xmlns:a16="http://schemas.microsoft.com/office/drawing/2014/main" id="{1889D661-0825-48B9-80D3-FC1661758125}"/>
                  </a:ext>
                </a:extLst>
              </p:cNvPr>
              <p:cNvSpPr/>
              <p:nvPr/>
            </p:nvSpPr>
            <p:spPr>
              <a:xfrm>
                <a:off x="5961654"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Down Arrow 66">
                <a:extLst>
                  <a:ext uri="{FF2B5EF4-FFF2-40B4-BE49-F238E27FC236}">
                    <a16:creationId xmlns:a16="http://schemas.microsoft.com/office/drawing/2014/main" id="{54B9634D-B026-496F-AEA2-6AB074B116C0}"/>
                  </a:ext>
                </a:extLst>
              </p:cNvPr>
              <p:cNvSpPr/>
              <p:nvPr/>
            </p:nvSpPr>
            <p:spPr>
              <a:xfrm>
                <a:off x="7568772"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Down Arrow 67">
                <a:extLst>
                  <a:ext uri="{FF2B5EF4-FFF2-40B4-BE49-F238E27FC236}">
                    <a16:creationId xmlns:a16="http://schemas.microsoft.com/office/drawing/2014/main" id="{D3780B27-E1B8-4735-8F65-32774CF64C79}"/>
                  </a:ext>
                </a:extLst>
              </p:cNvPr>
              <p:cNvSpPr/>
              <p:nvPr/>
            </p:nvSpPr>
            <p:spPr>
              <a:xfrm>
                <a:off x="9175890"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 name="Down Arrow 67">
                <a:extLst>
                  <a:ext uri="{FF2B5EF4-FFF2-40B4-BE49-F238E27FC236}">
                    <a16:creationId xmlns:a16="http://schemas.microsoft.com/office/drawing/2014/main" id="{8231929F-3297-4045-9C5C-028CC0CD13DA}"/>
                  </a:ext>
                </a:extLst>
              </p:cNvPr>
              <p:cNvSpPr/>
              <p:nvPr/>
            </p:nvSpPr>
            <p:spPr>
              <a:xfrm>
                <a:off x="10783007"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3" name="Group 152">
              <a:extLst>
                <a:ext uri="{FF2B5EF4-FFF2-40B4-BE49-F238E27FC236}">
                  <a16:creationId xmlns:a16="http://schemas.microsoft.com/office/drawing/2014/main" id="{0AFC335B-E4A2-4902-AF48-E49133307F54}"/>
                </a:ext>
              </a:extLst>
            </p:cNvPr>
            <p:cNvGrpSpPr/>
            <p:nvPr/>
          </p:nvGrpSpPr>
          <p:grpSpPr>
            <a:xfrm>
              <a:off x="1242087" y="2610663"/>
              <a:ext cx="9861650" cy="1063984"/>
              <a:chOff x="1242087" y="2706286"/>
              <a:chExt cx="9861650" cy="888928"/>
            </a:xfrm>
          </p:grpSpPr>
          <p:sp>
            <p:nvSpPr>
              <p:cNvPr id="172" name="Rectangle 171">
                <a:extLst>
                  <a:ext uri="{FF2B5EF4-FFF2-40B4-BE49-F238E27FC236}">
                    <a16:creationId xmlns:a16="http://schemas.microsoft.com/office/drawing/2014/main" id="{62DE0319-97B0-4FAA-81C3-3830E59D123D}"/>
                  </a:ext>
                </a:extLst>
              </p:cNvPr>
              <p:cNvSpPr/>
              <p:nvPr/>
            </p:nvSpPr>
            <p:spPr>
              <a:xfrm>
                <a:off x="1242087" y="2706287"/>
                <a:ext cx="1799464" cy="888927"/>
              </a:xfrm>
              <a:prstGeom prst="rect">
                <a:avLst/>
              </a:prstGeom>
              <a:solidFill>
                <a:srgbClr val="7F7F7F"/>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1: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mproving Data Governance and integrating Data Management for ensuring  easy/timely data access</a:t>
                </a:r>
              </a:p>
            </p:txBody>
          </p:sp>
          <p:sp>
            <p:nvSpPr>
              <p:cNvPr id="173" name="Rectangle 172">
                <a:extLst>
                  <a:ext uri="{FF2B5EF4-FFF2-40B4-BE49-F238E27FC236}">
                    <a16:creationId xmlns:a16="http://schemas.microsoft.com/office/drawing/2014/main" id="{175600DC-6E9F-427B-8C93-B8C50D313B72}"/>
                  </a:ext>
                </a:extLst>
              </p:cNvPr>
              <p:cNvSpPr/>
              <p:nvPr/>
            </p:nvSpPr>
            <p:spPr>
              <a:xfrm>
                <a:off x="3257634" y="2706287"/>
                <a:ext cx="1799464" cy="888926"/>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2: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data model </a:t>
                </a:r>
                <a:r>
                  <a:rPr kumimoji="0" lang="en-US" sz="1100" b="0" i="0" u="none" strike="noStrike" kern="1200" cap="none" spc="20" normalizeH="0" baseline="0" noProof="0">
                    <a:ln>
                      <a:noFill/>
                    </a:ln>
                    <a:solidFill>
                      <a:prstClr val="white"/>
                    </a:solidFill>
                    <a:effectLst/>
                    <a:uLnTx/>
                    <a:uFillTx/>
                    <a:latin typeface="Calibri Light" panose="020F0302020204030204"/>
                    <a:ea typeface="Times New Roman" panose="02020603050405020304" pitchFamily="18" charset="0"/>
                    <a:cs typeface="Times New Roman" panose="02020603050405020304" pitchFamily="18" charset="0"/>
                  </a:rPr>
                  <a:t>to better serve our clients  </a:t>
                </a: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4" name="Rectangle 173">
                <a:extLst>
                  <a:ext uri="{FF2B5EF4-FFF2-40B4-BE49-F238E27FC236}">
                    <a16:creationId xmlns:a16="http://schemas.microsoft.com/office/drawing/2014/main" id="{4C8913FB-686F-4FCD-9235-18C2832F71FF}"/>
                  </a:ext>
                </a:extLst>
              </p:cNvPr>
              <p:cNvSpPr/>
              <p:nvPr/>
            </p:nvSpPr>
            <p:spPr>
              <a:xfrm>
                <a:off x="5273181" y="2706289"/>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3: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a:t>
                </a:r>
              </a:p>
            </p:txBody>
          </p:sp>
          <p:sp>
            <p:nvSpPr>
              <p:cNvPr id="175" name="Rectangle 174">
                <a:extLst>
                  <a:ext uri="{FF2B5EF4-FFF2-40B4-BE49-F238E27FC236}">
                    <a16:creationId xmlns:a16="http://schemas.microsoft.com/office/drawing/2014/main" id="{FC1FF172-1E76-471F-834B-2AEA60E1C825}"/>
                  </a:ext>
                </a:extLst>
              </p:cNvPr>
              <p:cNvSpPr/>
              <p:nvPr/>
            </p:nvSpPr>
            <p:spPr>
              <a:xfrm>
                <a:off x="7288728" y="2706289"/>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4: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for innovation and analytics to improve investments and client experience</a:t>
                </a:r>
              </a:p>
            </p:txBody>
          </p:sp>
          <p:sp>
            <p:nvSpPr>
              <p:cNvPr id="176" name="Rectangle 175">
                <a:extLst>
                  <a:ext uri="{FF2B5EF4-FFF2-40B4-BE49-F238E27FC236}">
                    <a16:creationId xmlns:a16="http://schemas.microsoft.com/office/drawing/2014/main" id="{78F226E5-00D8-427A-BDBA-6C2CB5BEC148}"/>
                  </a:ext>
                </a:extLst>
              </p:cNvPr>
              <p:cNvSpPr/>
              <p:nvPr/>
            </p:nvSpPr>
            <p:spPr>
              <a:xfrm>
                <a:off x="9304273" y="2706286"/>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5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AAM as preferred Responsible Investment provider</a:t>
                </a:r>
              </a:p>
            </p:txBody>
          </p:sp>
        </p:grpSp>
        <p:grpSp>
          <p:nvGrpSpPr>
            <p:cNvPr id="154" name="Group 153">
              <a:extLst>
                <a:ext uri="{FF2B5EF4-FFF2-40B4-BE49-F238E27FC236}">
                  <a16:creationId xmlns:a16="http://schemas.microsoft.com/office/drawing/2014/main" id="{7CBC3BBD-6666-4E45-B460-77FBCF12BF0B}"/>
                </a:ext>
              </a:extLst>
            </p:cNvPr>
            <p:cNvGrpSpPr/>
            <p:nvPr/>
          </p:nvGrpSpPr>
          <p:grpSpPr>
            <a:xfrm>
              <a:off x="1242075" y="3850255"/>
              <a:ext cx="9861663" cy="995254"/>
              <a:chOff x="1399993" y="3963907"/>
              <a:chExt cx="9790401" cy="349596"/>
            </a:xfrm>
          </p:grpSpPr>
          <p:grpSp>
            <p:nvGrpSpPr>
              <p:cNvPr id="164" name="Group 163">
                <a:extLst>
                  <a:ext uri="{FF2B5EF4-FFF2-40B4-BE49-F238E27FC236}">
                    <a16:creationId xmlns:a16="http://schemas.microsoft.com/office/drawing/2014/main" id="{A8DC3E19-D6D5-4363-B3D2-3892E350AA2A}"/>
                  </a:ext>
                </a:extLst>
              </p:cNvPr>
              <p:cNvGrpSpPr/>
              <p:nvPr/>
            </p:nvGrpSpPr>
            <p:grpSpPr>
              <a:xfrm>
                <a:off x="1399993" y="3963907"/>
                <a:ext cx="6966898" cy="349596"/>
                <a:chOff x="587372" y="3938694"/>
                <a:chExt cx="4853572" cy="511425"/>
              </a:xfrm>
              <a:solidFill>
                <a:schemeClr val="accent5"/>
              </a:solidFill>
            </p:grpSpPr>
            <p:sp>
              <p:nvSpPr>
                <p:cNvPr id="167" name="Rectangle 166">
                  <a:extLst>
                    <a:ext uri="{FF2B5EF4-FFF2-40B4-BE49-F238E27FC236}">
                      <a16:creationId xmlns:a16="http://schemas.microsoft.com/office/drawing/2014/main" id="{DBC92878-0D7E-4AF0-AC35-873DAE39B715}"/>
                    </a:ext>
                  </a:extLst>
                </p:cNvPr>
                <p:cNvSpPr/>
                <p:nvPr/>
              </p:nvSpPr>
              <p:spPr>
                <a:xfrm>
                  <a:off x="58737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Commitment to data-driven operations </a:t>
                  </a:r>
                </a:p>
              </p:txBody>
            </p:sp>
            <p:sp>
              <p:nvSpPr>
                <p:cNvPr id="168" name="Rectangle 167">
                  <a:extLst>
                    <a:ext uri="{FF2B5EF4-FFF2-40B4-BE49-F238E27FC236}">
                      <a16:creationId xmlns:a16="http://schemas.microsoft.com/office/drawing/2014/main" id="{AD617955-EA47-4B8A-828E-B63F938A2B4A}"/>
                    </a:ext>
                  </a:extLst>
                </p:cNvPr>
                <p:cNvSpPr/>
                <p:nvPr/>
              </p:nvSpPr>
              <p:spPr>
                <a:xfrm>
                  <a:off x="156973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Data enterprise with one global, integrated data model</a:t>
                  </a:r>
                </a:p>
              </p:txBody>
            </p:sp>
            <p:sp>
              <p:nvSpPr>
                <p:cNvPr id="169" name="Rectangle 168">
                  <a:extLst>
                    <a:ext uri="{FF2B5EF4-FFF2-40B4-BE49-F238E27FC236}">
                      <a16:creationId xmlns:a16="http://schemas.microsoft.com/office/drawing/2014/main" id="{FA4AA8CF-46BD-4E97-B2F5-17352A3282F5}"/>
                    </a:ext>
                  </a:extLst>
                </p:cNvPr>
                <p:cNvSpPr/>
                <p:nvPr/>
              </p:nvSpPr>
              <p:spPr>
                <a:xfrm>
                  <a:off x="255210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Global data management framework</a:t>
                  </a:r>
                </a:p>
              </p:txBody>
            </p:sp>
            <p:sp>
              <p:nvSpPr>
                <p:cNvPr id="170" name="Rectangle 169">
                  <a:extLst>
                    <a:ext uri="{FF2B5EF4-FFF2-40B4-BE49-F238E27FC236}">
                      <a16:creationId xmlns:a16="http://schemas.microsoft.com/office/drawing/2014/main" id="{456814C8-57D4-44BE-803C-2FF691DA391F}"/>
                    </a:ext>
                  </a:extLst>
                </p:cNvPr>
                <p:cNvSpPr/>
                <p:nvPr/>
              </p:nvSpPr>
              <p:spPr>
                <a:xfrm>
                  <a:off x="3534467" y="3938694"/>
                  <a:ext cx="924113" cy="511425"/>
                </a:xfrm>
                <a:prstGeom prst="rect">
                  <a:avLst/>
                </a:prstGeom>
                <a:grpFill/>
                <a:ln w="25400" cap="flat" cmpd="sng" algn="ctr">
                  <a:noFill/>
                  <a:prstDash val="solid"/>
                </a:ln>
                <a:effectLst/>
              </p:spPr>
              <p:txBody>
                <a:bodyPr numCol="1" rtlCol="0" anchor="ctr"/>
                <a:lstStyle/>
                <a:p>
                  <a:pPr marL="0" marR="0" lvl="0" indent="0" algn="ctr" defTabSz="913943" rtl="0" eaLnBrk="1" fontAlgn="auto" latinLnBrk="0" hangingPunct="1">
                    <a:lnSpc>
                      <a:spcPct val="100000"/>
                    </a:lnSpc>
                    <a:spcBef>
                      <a:spcPts val="0"/>
                    </a:spcBef>
                    <a:spcAft>
                      <a:spcPts val="0"/>
                    </a:spcAft>
                    <a:buClr>
                      <a:srgbClr val="001F5B"/>
                    </a:buClr>
                    <a:buSzPct val="100000"/>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Data ownership as a business responsibility</a:t>
                  </a:r>
                </a:p>
              </p:txBody>
            </p:sp>
            <p:sp>
              <p:nvSpPr>
                <p:cNvPr id="171" name="Rectangle 170">
                  <a:extLst>
                    <a:ext uri="{FF2B5EF4-FFF2-40B4-BE49-F238E27FC236}">
                      <a16:creationId xmlns:a16="http://schemas.microsoft.com/office/drawing/2014/main" id="{22EF28C8-8BB8-4CC6-B9B5-F5AB97A4F6F9}"/>
                    </a:ext>
                  </a:extLst>
                </p:cNvPr>
                <p:cNvSpPr/>
                <p:nvPr/>
              </p:nvSpPr>
              <p:spPr>
                <a:xfrm>
                  <a:off x="4516831"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Simplified and standardized activities by automation</a:t>
                  </a:r>
                </a:p>
              </p:txBody>
            </p:sp>
          </p:grpSp>
          <p:sp>
            <p:nvSpPr>
              <p:cNvPr id="165" name="Rectangle 164">
                <a:extLst>
                  <a:ext uri="{FF2B5EF4-FFF2-40B4-BE49-F238E27FC236}">
                    <a16:creationId xmlns:a16="http://schemas.microsoft.com/office/drawing/2014/main" id="{FC1A5431-C4C5-4BD1-9F7B-3E23230980B1}"/>
                  </a:ext>
                </a:extLst>
              </p:cNvPr>
              <p:cNvSpPr/>
              <p:nvPr/>
            </p:nvSpPr>
            <p:spPr>
              <a:xfrm>
                <a:off x="8455465"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Facilitating and enabling business driven analytics</a:t>
                </a:r>
              </a:p>
            </p:txBody>
          </p:sp>
          <p:sp>
            <p:nvSpPr>
              <p:cNvPr id="166" name="Rectangle 165">
                <a:extLst>
                  <a:ext uri="{FF2B5EF4-FFF2-40B4-BE49-F238E27FC236}">
                    <a16:creationId xmlns:a16="http://schemas.microsoft.com/office/drawing/2014/main" id="{87C1BF3E-FDC3-493B-9F05-630A0B50FC16}"/>
                  </a:ext>
                </a:extLst>
              </p:cNvPr>
              <p:cNvSpPr/>
              <p:nvPr/>
            </p:nvSpPr>
            <p:spPr>
              <a:xfrm>
                <a:off x="9863906"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Holistic approach to utilizing trusted ESG data &amp; analytics</a:t>
                </a:r>
              </a:p>
            </p:txBody>
          </p:sp>
        </p:grpSp>
        <p:pic>
          <p:nvPicPr>
            <p:cNvPr id="155" name="Graphic 154" descr="Muscular arm">
              <a:extLst>
                <a:ext uri="{FF2B5EF4-FFF2-40B4-BE49-F238E27FC236}">
                  <a16:creationId xmlns:a16="http://schemas.microsoft.com/office/drawing/2014/main" id="{CF7DFCCF-BE25-4B20-8B1F-3514FA3A9D3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269034" y="4550463"/>
              <a:ext cx="295145" cy="295046"/>
            </a:xfrm>
            <a:prstGeom prst="rect">
              <a:avLst/>
            </a:prstGeom>
          </p:spPr>
        </p:pic>
        <p:pic>
          <p:nvPicPr>
            <p:cNvPr id="156" name="Graphic 155" descr="Puzzle pieces">
              <a:extLst>
                <a:ext uri="{FF2B5EF4-FFF2-40B4-BE49-F238E27FC236}">
                  <a16:creationId xmlns:a16="http://schemas.microsoft.com/office/drawing/2014/main" id="{D96A6661-EC30-4FDD-8F11-C181EC8F77F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710937" y="4552241"/>
              <a:ext cx="320983" cy="320875"/>
            </a:xfrm>
            <a:prstGeom prst="rect">
              <a:avLst/>
            </a:prstGeom>
          </p:spPr>
        </p:pic>
        <p:pic>
          <p:nvPicPr>
            <p:cNvPr id="157" name="Graphic 156" descr="Gears">
              <a:extLst>
                <a:ext uri="{FF2B5EF4-FFF2-40B4-BE49-F238E27FC236}">
                  <a16:creationId xmlns:a16="http://schemas.microsoft.com/office/drawing/2014/main" id="{5FE6CE51-ADEC-4E3E-8C93-26AC3A4537F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161701" y="4568063"/>
              <a:ext cx="289327" cy="289230"/>
            </a:xfrm>
            <a:prstGeom prst="rect">
              <a:avLst/>
            </a:prstGeom>
          </p:spPr>
        </p:pic>
        <p:pic>
          <p:nvPicPr>
            <p:cNvPr id="158" name="Graphic 157" descr="Professor">
              <a:extLst>
                <a:ext uri="{FF2B5EF4-FFF2-40B4-BE49-F238E27FC236}">
                  <a16:creationId xmlns:a16="http://schemas.microsoft.com/office/drawing/2014/main" id="{F19F942E-36D2-4B01-A3AE-2F9553C9C71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548167" y="4550321"/>
              <a:ext cx="311804" cy="311699"/>
            </a:xfrm>
            <a:prstGeom prst="rect">
              <a:avLst/>
            </a:prstGeom>
          </p:spPr>
        </p:pic>
        <p:pic>
          <p:nvPicPr>
            <p:cNvPr id="159" name="Graphic 158" descr="Forest scene">
              <a:extLst>
                <a:ext uri="{FF2B5EF4-FFF2-40B4-BE49-F238E27FC236}">
                  <a16:creationId xmlns:a16="http://schemas.microsoft.com/office/drawing/2014/main" id="{6D26413A-BFFA-46AB-91E0-03D23E0BA1B2}"/>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810678" y="4546363"/>
              <a:ext cx="285153" cy="285057"/>
            </a:xfrm>
            <a:prstGeom prst="rect">
              <a:avLst/>
            </a:prstGeom>
          </p:spPr>
        </p:pic>
        <p:pic>
          <p:nvPicPr>
            <p:cNvPr id="160" name="Graphic 159" descr="Boardroom">
              <a:extLst>
                <a:ext uri="{FF2B5EF4-FFF2-40B4-BE49-F238E27FC236}">
                  <a16:creationId xmlns:a16="http://schemas.microsoft.com/office/drawing/2014/main" id="{3702090D-4E5D-418E-BC2F-CC8C8C2106C2}"/>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781" y="4531815"/>
              <a:ext cx="338336" cy="361725"/>
            </a:xfrm>
            <a:prstGeom prst="rect">
              <a:avLst/>
            </a:prstGeom>
          </p:spPr>
        </p:pic>
        <p:pic>
          <p:nvPicPr>
            <p:cNvPr id="161" name="Graphic 160" descr="Tools">
              <a:extLst>
                <a:ext uri="{FF2B5EF4-FFF2-40B4-BE49-F238E27FC236}">
                  <a16:creationId xmlns:a16="http://schemas.microsoft.com/office/drawing/2014/main" id="{396262A2-F111-4680-934F-D3E297C4E5F9}"/>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988292" y="4580637"/>
              <a:ext cx="256416" cy="255038"/>
            </a:xfrm>
            <a:prstGeom prst="rect">
              <a:avLst/>
            </a:prstGeom>
          </p:spPr>
        </p:pic>
        <p:sp>
          <p:nvSpPr>
            <p:cNvPr id="162" name="TextBox 161">
              <a:extLst>
                <a:ext uri="{FF2B5EF4-FFF2-40B4-BE49-F238E27FC236}">
                  <a16:creationId xmlns:a16="http://schemas.microsoft.com/office/drawing/2014/main" id="{9A44AF10-2B21-467C-968A-A4E9E91492BD}"/>
                </a:ext>
              </a:extLst>
            </p:cNvPr>
            <p:cNvSpPr txBox="1"/>
            <p:nvPr/>
          </p:nvSpPr>
          <p:spPr>
            <a:xfrm rot="5400000">
              <a:off x="10913907" y="2904190"/>
              <a:ext cx="812722" cy="338554"/>
            </a:xfrm>
            <a:prstGeom prst="rect">
              <a:avLst/>
            </a:prstGeom>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Strategic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 objectives</a:t>
              </a:r>
            </a:p>
          </p:txBody>
        </p:sp>
        <p:sp>
          <p:nvSpPr>
            <p:cNvPr id="163" name="TextBox 162">
              <a:extLst>
                <a:ext uri="{FF2B5EF4-FFF2-40B4-BE49-F238E27FC236}">
                  <a16:creationId xmlns:a16="http://schemas.microsoft.com/office/drawing/2014/main" id="{8F29C0EC-FA20-4E38-9948-143E79BF604E}"/>
                </a:ext>
              </a:extLst>
            </p:cNvPr>
            <p:cNvSpPr txBox="1"/>
            <p:nvPr/>
          </p:nvSpPr>
          <p:spPr>
            <a:xfrm rot="5400000">
              <a:off x="10868376" y="4152478"/>
              <a:ext cx="873702" cy="338554"/>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Data design principles</a:t>
              </a:r>
            </a:p>
          </p:txBody>
        </p:sp>
      </p:grpSp>
      <p:pic>
        <p:nvPicPr>
          <p:cNvPr id="184" name="Picture 183">
            <a:extLst>
              <a:ext uri="{FF2B5EF4-FFF2-40B4-BE49-F238E27FC236}">
                <a16:creationId xmlns:a16="http://schemas.microsoft.com/office/drawing/2014/main" id="{921ABE39-A642-4D46-8D9B-AF223C6DF761}"/>
              </a:ext>
            </a:extLst>
          </p:cNvPr>
          <p:cNvPicPr>
            <a:picLocks noChangeAspect="1"/>
          </p:cNvPicPr>
          <p:nvPr/>
        </p:nvPicPr>
        <p:blipFill>
          <a:blip r:embed="rId21"/>
          <a:stretch>
            <a:fillRect/>
          </a:stretch>
        </p:blipFill>
        <p:spPr>
          <a:xfrm>
            <a:off x="588817" y="1078479"/>
            <a:ext cx="3526342" cy="765709"/>
          </a:xfrm>
          <a:prstGeom prst="rect">
            <a:avLst/>
          </a:prstGeom>
        </p:spPr>
      </p:pic>
    </p:spTree>
    <p:extLst>
      <p:ext uri="{BB962C8B-B14F-4D97-AF65-F5344CB8AC3E}">
        <p14:creationId xmlns:p14="http://schemas.microsoft.com/office/powerpoint/2010/main" val="3229655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4E7CC493-9CE4-4A82-AFC5-6B4C582049A7}"/>
              </a:ext>
            </a:extLst>
          </p:cNvPr>
          <p:cNvSpPr/>
          <p:nvPr/>
        </p:nvSpPr>
        <p:spPr>
          <a:xfrm>
            <a:off x="9261765" y="5493354"/>
            <a:ext cx="2414420" cy="1197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extLst>
              <a:ext uri="{FF2B5EF4-FFF2-40B4-BE49-F238E27FC236}">
                <a16:creationId xmlns:a16="http://schemas.microsoft.com/office/drawing/2014/main" id="{B22B3FF2-3E0F-4602-9D95-ABF4C9939437}"/>
              </a:ext>
            </a:extLst>
          </p:cNvPr>
          <p:cNvSpPr/>
          <p:nvPr/>
        </p:nvSpPr>
        <p:spPr>
          <a:xfrm>
            <a:off x="5513115" y="3483310"/>
            <a:ext cx="5722056" cy="79037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2952029-6BB7-4A31-A512-AF8F0BE6EA6C}"/>
              </a:ext>
            </a:extLst>
          </p:cNvPr>
          <p:cNvSpPr txBox="1"/>
          <p:nvPr/>
        </p:nvSpPr>
        <p:spPr>
          <a:xfrm>
            <a:off x="5525824" y="3712584"/>
            <a:ext cx="5710251"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platforming, automated data ingestion and integration/processing</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ave the supporting IT and (data) architecture for analytics purposes and self-service BI</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nclude security check fields in combining internal and external data </a:t>
            </a:r>
          </a:p>
        </p:txBody>
      </p:sp>
      <p:sp>
        <p:nvSpPr>
          <p:cNvPr id="42" name="Rectangle 41">
            <a:extLst>
              <a:ext uri="{FF2B5EF4-FFF2-40B4-BE49-F238E27FC236}">
                <a16:creationId xmlns:a16="http://schemas.microsoft.com/office/drawing/2014/main" id="{3FFE9F0D-BF89-45BB-A80D-418C611EAB95}"/>
              </a:ext>
            </a:extLst>
          </p:cNvPr>
          <p:cNvSpPr/>
          <p:nvPr/>
        </p:nvSpPr>
        <p:spPr>
          <a:xfrm>
            <a:off x="5879195" y="1335713"/>
            <a:ext cx="5355976" cy="211212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E4DDC895-4533-43A5-B1D9-A626F73E30A3}"/>
              </a:ext>
            </a:extLst>
          </p:cNvPr>
          <p:cNvSpPr txBox="1"/>
          <p:nvPr/>
        </p:nvSpPr>
        <p:spPr>
          <a:xfrm>
            <a:off x="5524887" y="1553458"/>
            <a:ext cx="5710251" cy="2123658"/>
          </a:xfrm>
          <a:prstGeom prst="rect">
            <a:avLst/>
          </a:prstGeom>
          <a:noFill/>
          <a:ln>
            <a:noFill/>
          </a:ln>
        </p:spPr>
        <p:txBody>
          <a:bodyPr wrap="square" lIns="0" rIns="0" rtlCol="0" anchor="t" anchorCtr="0">
            <a:spAutoFit/>
          </a:bodyPr>
          <a:lstStyle>
            <a:defPPr>
              <a:defRPr lang="en-US"/>
            </a:defPPr>
            <a:lvl1pPr marL="180975" indent="-180975">
              <a:buFont typeface="Arial" panose="020B0604020202020204" pitchFamily="34" charset="0"/>
              <a:buChar char="•"/>
              <a:defRPr sz="1100"/>
            </a:lvl1pPr>
          </a:lstStyle>
          <a:p>
            <a:pPr marL="26670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nfirm executive sponsorship</a:t>
            </a:r>
          </a:p>
          <a:p>
            <a:pPr marL="266700">
              <a:defRPr/>
            </a:pPr>
            <a:r>
              <a:rPr kumimoji="0" lang="en-US" sz="1100" b="0" u="none" strike="noStrike" kern="1200" cap="none" spc="0" normalizeH="0" baseline="0" noProof="0">
                <a:ln>
                  <a:noFill/>
                </a:ln>
                <a:solidFill>
                  <a:srgbClr val="000000"/>
                </a:solidFill>
                <a:effectLst/>
                <a:uLnTx/>
                <a:uFillTx/>
              </a:rPr>
              <a:t>Common language across regions for products and client types</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ormalize a global analytics way of working to accelerate the way from ideas to analytics</a:t>
            </a: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ntegrate analytics way of working in organizational and data governance and assign model/product ownership rules</a:t>
            </a: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ave enough resources in the Global Insights and other analytics teams</a:t>
            </a: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vide sufficient </a:t>
            </a:r>
            <a:r>
              <a:rPr lang="en-US">
                <a:solidFill>
                  <a:srgbClr val="000000"/>
                </a:solidFill>
                <a:latin typeface="Calibri" panose="020F0502020204030204"/>
              </a:rPr>
              <a:t>training</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to relevant resources to increase Analytics literacy and awareness level</a:t>
            </a: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ave communication and awareness sessions about analytics possibilities</a:t>
            </a: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et up stage that IT does not need to be involved for client reporting; reduce manual labor, data minded/savvy employees</a:t>
            </a:r>
          </a:p>
          <a:p>
            <a:pPr marL="266700" marR="0" lvl="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artnering with business</a:t>
            </a:r>
          </a:p>
        </p:txBody>
      </p:sp>
      <p:sp>
        <p:nvSpPr>
          <p:cNvPr id="45" name="Rectangle 44">
            <a:extLst>
              <a:ext uri="{FF2B5EF4-FFF2-40B4-BE49-F238E27FC236}">
                <a16:creationId xmlns:a16="http://schemas.microsoft.com/office/drawing/2014/main" id="{4E215F30-5DD1-44D7-B1FC-142444411C31}"/>
              </a:ext>
            </a:extLst>
          </p:cNvPr>
          <p:cNvSpPr/>
          <p:nvPr/>
        </p:nvSpPr>
        <p:spPr>
          <a:xfrm>
            <a:off x="836645" y="4577277"/>
            <a:ext cx="4733877" cy="199852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0413AD93-4B34-4445-BC0A-E09E1279B389}"/>
              </a:ext>
            </a:extLst>
          </p:cNvPr>
          <p:cNvGrpSpPr/>
          <p:nvPr/>
        </p:nvGrpSpPr>
        <p:grpSpPr>
          <a:xfrm>
            <a:off x="2828505" y="4306587"/>
            <a:ext cx="2617305" cy="2157743"/>
            <a:chOff x="3217955" y="4306587"/>
            <a:chExt cx="2353726" cy="2157743"/>
          </a:xfrm>
        </p:grpSpPr>
        <p:sp>
          <p:nvSpPr>
            <p:cNvPr id="101" name="TextBox 100">
              <a:extLst>
                <a:ext uri="{FF2B5EF4-FFF2-40B4-BE49-F238E27FC236}">
                  <a16:creationId xmlns:a16="http://schemas.microsoft.com/office/drawing/2014/main" id="{60BD4DB5-34A9-4B35-A97F-5D55D7186094}"/>
                </a:ext>
              </a:extLst>
            </p:cNvPr>
            <p:cNvSpPr txBox="1"/>
            <p:nvPr/>
          </p:nvSpPr>
          <p:spPr>
            <a:xfrm>
              <a:off x="3219728" y="4594587"/>
              <a:ext cx="2346047" cy="1869743"/>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85725">
                <a:buFont typeface="+mj-lt"/>
                <a:buAutoNum type="arabicPeriod" startAt="15"/>
                <a:defRPr/>
              </a:pPr>
              <a:r>
                <a:rPr lang="en-US" sz="1050">
                  <a:solidFill>
                    <a:srgbClr val="000000"/>
                  </a:solidFill>
                  <a:latin typeface="Calibri" panose="020F0502020204030204"/>
                </a:rPr>
                <a:t>Assess which artifacts are necessary to build out usage of data &amp; analytics throughout the organization (architectural capabilities such as tools, etc.) </a:t>
              </a:r>
            </a:p>
            <a:p>
              <a:pPr marL="85725" indent="-85725">
                <a:buFont typeface="+mj-lt"/>
                <a:buAutoNum type="arabicPeriod" startAt="15"/>
                <a:defRPr/>
              </a:pPr>
              <a:r>
                <a:rPr lang="en-US" sz="1050">
                  <a:solidFill>
                    <a:srgbClr val="000000"/>
                  </a:solidFill>
                  <a:latin typeface="Calibri" panose="020F0502020204030204"/>
                </a:rPr>
                <a:t>Establish an analytics way of working including the relevant governance and enablers</a:t>
              </a:r>
            </a:p>
            <a:p>
              <a:pPr marL="85725" indent="-85725">
                <a:buFont typeface="+mj-lt"/>
                <a:buAutoNum type="arabicPeriod" startAt="15"/>
                <a:defRPr/>
              </a:pPr>
              <a:r>
                <a:rPr lang="en-US" sz="1050">
                  <a:solidFill>
                    <a:srgbClr val="000000"/>
                  </a:solidFill>
                  <a:latin typeface="Calibri" panose="020F0502020204030204"/>
                </a:rPr>
                <a:t>Build self-service information products for clients</a:t>
              </a:r>
            </a:p>
            <a:p>
              <a:pPr marL="85725" indent="-85725">
                <a:buFont typeface="+mj-lt"/>
                <a:buAutoNum type="arabicPeriod" startAt="15"/>
                <a:defRPr/>
              </a:pPr>
              <a:r>
                <a:rPr lang="en-US" sz="1050" i="1">
                  <a:solidFill>
                    <a:srgbClr val="000000"/>
                  </a:solidFill>
                  <a:latin typeface="Calibri" panose="020F0502020204030204"/>
                </a:rPr>
                <a:t>Select and further specify analytics use cases per department</a:t>
              </a:r>
            </a:p>
          </p:txBody>
        </p:sp>
        <p:sp>
          <p:nvSpPr>
            <p:cNvPr id="116" name="Rectangle 115">
              <a:extLst>
                <a:ext uri="{FF2B5EF4-FFF2-40B4-BE49-F238E27FC236}">
                  <a16:creationId xmlns:a16="http://schemas.microsoft.com/office/drawing/2014/main" id="{89956078-DA95-4E05-9104-58356D3D5E7F}"/>
                </a:ext>
              </a:extLst>
            </p:cNvPr>
            <p:cNvSpPr/>
            <p:nvPr/>
          </p:nvSpPr>
          <p:spPr>
            <a:xfrm>
              <a:off x="3217955" y="4306587"/>
              <a:ext cx="2353726" cy="28800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Foundational use cases</a:t>
              </a:r>
            </a:p>
          </p:txBody>
        </p:sp>
      </p:grpSp>
      <p:grpSp>
        <p:nvGrpSpPr>
          <p:cNvPr id="6" name="Group 5">
            <a:extLst>
              <a:ext uri="{FF2B5EF4-FFF2-40B4-BE49-F238E27FC236}">
                <a16:creationId xmlns:a16="http://schemas.microsoft.com/office/drawing/2014/main" id="{4541E599-3D99-440F-95EF-0C6358F2C1CD}"/>
              </a:ext>
            </a:extLst>
          </p:cNvPr>
          <p:cNvGrpSpPr/>
          <p:nvPr/>
        </p:nvGrpSpPr>
        <p:grpSpPr>
          <a:xfrm>
            <a:off x="5505682" y="4306582"/>
            <a:ext cx="4370259" cy="2248660"/>
            <a:chOff x="6034425" y="4781207"/>
            <a:chExt cx="2485346" cy="1901152"/>
          </a:xfrm>
        </p:grpSpPr>
        <p:sp>
          <p:nvSpPr>
            <p:cNvPr id="46" name="Rectangle 45">
              <a:extLst>
                <a:ext uri="{FF2B5EF4-FFF2-40B4-BE49-F238E27FC236}">
                  <a16:creationId xmlns:a16="http://schemas.microsoft.com/office/drawing/2014/main" id="{738D352E-85BD-482E-B423-E049F1140936}"/>
                </a:ext>
              </a:extLst>
            </p:cNvPr>
            <p:cNvSpPr/>
            <p:nvPr/>
          </p:nvSpPr>
          <p:spPr>
            <a:xfrm>
              <a:off x="6092959" y="4811101"/>
              <a:ext cx="2392360" cy="187125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TextBox 71">
              <a:extLst>
                <a:ext uri="{FF2B5EF4-FFF2-40B4-BE49-F238E27FC236}">
                  <a16:creationId xmlns:a16="http://schemas.microsoft.com/office/drawing/2014/main" id="{42FEDE24-EAB7-428E-9894-DD6495AE6604}"/>
                </a:ext>
              </a:extLst>
            </p:cNvPr>
            <p:cNvSpPr txBox="1"/>
            <p:nvPr/>
          </p:nvSpPr>
          <p:spPr>
            <a:xfrm>
              <a:off x="6042349" y="5024786"/>
              <a:ext cx="2477422" cy="165235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solidFill>
                    <a:srgbClr val="000000"/>
                  </a:solidFill>
                  <a:latin typeface="Calibri" panose="020F0502020204030204"/>
                </a:rPr>
                <a:t>Execute use cases 15 and 16 in given sequential order (not in parallel)</a:t>
              </a:r>
            </a:p>
            <a:p>
              <a:pPr>
                <a:lnSpc>
                  <a:spcPct val="100000"/>
                </a:lnSpc>
                <a:spcBef>
                  <a:spcPts val="0"/>
                </a:spcBef>
              </a:pPr>
              <a:r>
                <a:rPr lang="en-US"/>
                <a:t>Project RAFT</a:t>
              </a:r>
            </a:p>
            <a:p>
              <a:pPr>
                <a:lnSpc>
                  <a:spcPct val="100000"/>
                </a:lnSpc>
                <a:spcBef>
                  <a:spcPts val="0"/>
                </a:spcBef>
              </a:pPr>
              <a:r>
                <a:rPr lang="en-US"/>
                <a:t>#1661 - [Analytics] Global Client Group Analytics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tirement program</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96175 - [NL Retirement] Create a data driven infrastructure to support increasing client needs for customized information</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Use of RPA </a:t>
              </a:r>
              <a:endParaRPr lang="en-US"/>
            </a:p>
            <a:p>
              <a:pPr>
                <a:lnSpc>
                  <a:spcPct val="100000"/>
                </a:lnSpc>
                <a:spcBef>
                  <a:spcPts val="0"/>
                </a:spcBef>
              </a:pPr>
              <a:r>
                <a:rPr lang="en-US"/>
                <a:t>#46874 - Global insights framework </a:t>
              </a:r>
            </a:p>
            <a:p>
              <a:pPr>
                <a:lnSpc>
                  <a:spcPct val="100000"/>
                </a:lnSpc>
                <a:spcBef>
                  <a:spcPts val="0"/>
                </a:spcBef>
              </a:pPr>
              <a:r>
                <a:rPr lang="en-US"/>
                <a:t>Concluding IG/HY research split </a:t>
              </a:r>
            </a:p>
            <a:p>
              <a:pPr>
                <a:lnSpc>
                  <a:spcPct val="100000"/>
                </a:lnSpc>
                <a:spcBef>
                  <a:spcPts val="0"/>
                </a:spcBef>
              </a:pPr>
              <a:r>
                <a:rPr lang="en-US"/>
                <a:t>Enhancing RI research methods </a:t>
              </a:r>
            </a:p>
            <a:p>
              <a:pPr>
                <a:lnSpc>
                  <a:spcPct val="100000"/>
                </a:lnSpc>
                <a:spcBef>
                  <a:spcPts val="0"/>
                </a:spcBef>
              </a:pPr>
              <a:r>
                <a:rPr lang="en-US"/>
                <a:t>Implementing Aladdin Research </a:t>
              </a:r>
            </a:p>
            <a:p>
              <a:pPr>
                <a:lnSpc>
                  <a:spcPct val="100000"/>
                </a:lnSpc>
                <a:spcBef>
                  <a:spcPts val="0"/>
                </a:spcBef>
              </a:pPr>
              <a:r>
                <a:rPr lang="en-US"/>
                <a:t>#2180 - Impact Venture Credit investment strategy (?)</a:t>
              </a:r>
            </a:p>
          </p:txBody>
        </p:sp>
        <p:sp>
          <p:nvSpPr>
            <p:cNvPr id="16" name="Rectangle 15">
              <a:extLst>
                <a:ext uri="{FF2B5EF4-FFF2-40B4-BE49-F238E27FC236}">
                  <a16:creationId xmlns:a16="http://schemas.microsoft.com/office/drawing/2014/main" id="{AF466AE7-8D20-4536-B357-4FA03FB5853C}"/>
                </a:ext>
              </a:extLst>
            </p:cNvPr>
            <p:cNvSpPr/>
            <p:nvPr/>
          </p:nvSpPr>
          <p:spPr>
            <a:xfrm>
              <a:off x="6034425" y="4781207"/>
              <a:ext cx="2451391" cy="236539"/>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Timing &amp; Dependencies</a:t>
              </a:r>
            </a:p>
          </p:txBody>
        </p:sp>
      </p:grpSp>
      <p:sp>
        <p:nvSpPr>
          <p:cNvPr id="35" name="Rectangle 34">
            <a:extLst>
              <a:ext uri="{FF2B5EF4-FFF2-40B4-BE49-F238E27FC236}">
                <a16:creationId xmlns:a16="http://schemas.microsoft.com/office/drawing/2014/main" id="{C7ECA67C-9606-45F6-8EC4-9C26F6CE8F3A}"/>
              </a:ext>
            </a:extLst>
          </p:cNvPr>
          <p:cNvSpPr/>
          <p:nvPr/>
        </p:nvSpPr>
        <p:spPr>
          <a:xfrm>
            <a:off x="1774803" y="1325684"/>
            <a:ext cx="3674401" cy="293797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C7759AE7-3F46-4F7B-9371-84D08832D4DF}"/>
              </a:ext>
            </a:extLst>
          </p:cNvPr>
          <p:cNvSpPr txBox="1"/>
          <p:nvPr/>
        </p:nvSpPr>
        <p:spPr>
          <a:xfrm>
            <a:off x="1830377" y="1553570"/>
            <a:ext cx="3675306" cy="280076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lvl="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acilitate an aspirational environment to further encourage using data for forward-looking analyses, realizing our commercial </a:t>
            </a:r>
            <a:r>
              <a:rPr lang="en-US">
                <a:solidFill>
                  <a:srgbClr val="000000"/>
                </a:solidFill>
              </a:rPr>
              <a:t>strategy of identifying prospective clients and opportunities to strategically position Aegon AM in new markets,       eliminate manual work       and measure success </a:t>
            </a:r>
          </a:p>
          <a:p>
            <a:pPr>
              <a:defRPr/>
            </a:pPr>
            <a:r>
              <a:rPr lang="en-US">
                <a:solidFill>
                  <a:srgbClr val="000000"/>
                </a:solidFill>
              </a:rPr>
              <a:t>Understanding our clients needs, goals and their financial landscape</a:t>
            </a:r>
            <a:endParaRPr lang="en-US" sz="400">
              <a:solidFill>
                <a:srgbClr val="000000"/>
              </a:solidFill>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stablish an analytics way of working including the relevant governance and (technology) enabler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nable automated data feed for investment performance measurement to ensure consistent and correct advice and insights to client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nsolidation of the pockets of information in client reporting via BI dashboards to keep up with the industry standards </a:t>
            </a:r>
          </a:p>
        </p:txBody>
      </p:sp>
      <p:sp>
        <p:nvSpPr>
          <p:cNvPr id="2" name="Rectangle 1">
            <a:extLst>
              <a:ext uri="{FF2B5EF4-FFF2-40B4-BE49-F238E27FC236}">
                <a16:creationId xmlns:a16="http://schemas.microsoft.com/office/drawing/2014/main" id="{9AC5F50E-28EE-4312-88E1-87359E29D14D}"/>
              </a:ext>
            </a:extLst>
          </p:cNvPr>
          <p:cNvSpPr/>
          <p:nvPr/>
        </p:nvSpPr>
        <p:spPr>
          <a:xfrm>
            <a:off x="2600325" y="954697"/>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Building a global way of working in enabling the business to use analytics and data innovation techniques to improve investment decisions and client experience</a:t>
            </a:r>
          </a:p>
        </p:txBody>
      </p:sp>
      <p:sp>
        <p:nvSpPr>
          <p:cNvPr id="11" name="Rectangle 10">
            <a:extLst>
              <a:ext uri="{FF2B5EF4-FFF2-40B4-BE49-F238E27FC236}">
                <a16:creationId xmlns:a16="http://schemas.microsoft.com/office/drawing/2014/main" id="{1BDC89DB-996B-483A-BA4D-19EE9B629B46}"/>
              </a:ext>
            </a:extLst>
          </p:cNvPr>
          <p:cNvSpPr/>
          <p:nvPr/>
        </p:nvSpPr>
        <p:spPr>
          <a:xfrm>
            <a:off x="5519263" y="1335715"/>
            <a:ext cx="5716813" cy="288000"/>
          </a:xfrm>
          <a:prstGeom prst="rect">
            <a:avLst/>
          </a:prstGeom>
          <a:solidFill>
            <a:srgbClr val="2BAEA3"/>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Organizational Requirements</a:t>
            </a:r>
          </a:p>
        </p:txBody>
      </p:sp>
      <p:sp>
        <p:nvSpPr>
          <p:cNvPr id="38" name="Rectangle 37">
            <a:extLst>
              <a:ext uri="{FF2B5EF4-FFF2-40B4-BE49-F238E27FC236}">
                <a16:creationId xmlns:a16="http://schemas.microsoft.com/office/drawing/2014/main" id="{14677884-B84C-4112-B064-71BB47E090D9}"/>
              </a:ext>
            </a:extLst>
          </p:cNvPr>
          <p:cNvSpPr/>
          <p:nvPr/>
        </p:nvSpPr>
        <p:spPr>
          <a:xfrm>
            <a:off x="5518392" y="3479135"/>
            <a:ext cx="5716812" cy="288000"/>
          </a:xfrm>
          <a:prstGeom prst="rect">
            <a:avLst/>
          </a:prstGeom>
          <a:solidFill>
            <a:srgbClr val="FFB15E"/>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Data Foundation Requirements</a:t>
            </a:r>
          </a:p>
        </p:txBody>
      </p:sp>
      <p:sp>
        <p:nvSpPr>
          <p:cNvPr id="32" name="Title 5">
            <a:extLst>
              <a:ext uri="{FF2B5EF4-FFF2-40B4-BE49-F238E27FC236}">
                <a16:creationId xmlns:a16="http://schemas.microsoft.com/office/drawing/2014/main" id="{FA216D96-6C9D-4447-9D4E-C7FC824DD24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69B4"/>
                </a:solidFill>
                <a:effectLst/>
                <a:uLnTx/>
                <a:uFillTx/>
                <a:latin typeface="Calibri Light" panose="020F0302020204030204"/>
                <a:ea typeface="+mj-ea"/>
                <a:cs typeface="+mj-cs"/>
              </a:rPr>
              <a:t>Strategic Data Objective 4: </a:t>
            </a:r>
            <a:r>
              <a:rPr kumimoji="0" lang="en-US" sz="20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rPr>
              <a:t>Building a global way of working in enabling the business to use    analytics and data innovation techniques to improve investment decisions and client experience</a:t>
            </a:r>
            <a:endParaRPr kumimoji="0" lang="en-US" sz="24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endParaRPr>
          </a:p>
        </p:txBody>
      </p:sp>
      <p:grpSp>
        <p:nvGrpSpPr>
          <p:cNvPr id="10" name="Group 9">
            <a:extLst>
              <a:ext uri="{FF2B5EF4-FFF2-40B4-BE49-F238E27FC236}">
                <a16:creationId xmlns:a16="http://schemas.microsoft.com/office/drawing/2014/main" id="{67A2F830-F1F8-43D0-9373-26A205830779}"/>
              </a:ext>
            </a:extLst>
          </p:cNvPr>
          <p:cNvGrpSpPr/>
          <p:nvPr/>
        </p:nvGrpSpPr>
        <p:grpSpPr>
          <a:xfrm>
            <a:off x="1832185" y="1335714"/>
            <a:ext cx="3629696" cy="303586"/>
            <a:chOff x="2152648" y="1734133"/>
            <a:chExt cx="3632911" cy="303586"/>
          </a:xfrm>
        </p:grpSpPr>
        <p:sp>
          <p:nvSpPr>
            <p:cNvPr id="4" name="Rectangle 3">
              <a:extLst>
                <a:ext uri="{FF2B5EF4-FFF2-40B4-BE49-F238E27FC236}">
                  <a16:creationId xmlns:a16="http://schemas.microsoft.com/office/drawing/2014/main" id="{1423B210-1D67-46E0-9991-131C6CE6300F}"/>
                </a:ext>
              </a:extLst>
            </p:cNvPr>
            <p:cNvSpPr/>
            <p:nvPr/>
          </p:nvSpPr>
          <p:spPr>
            <a:xfrm>
              <a:off x="2152648" y="1734133"/>
              <a:ext cx="363291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Description</a:t>
              </a:r>
            </a:p>
          </p:txBody>
        </p:sp>
        <p:pic>
          <p:nvPicPr>
            <p:cNvPr id="49" name="Graphic 48" descr="Teacher">
              <a:extLst>
                <a:ext uri="{FF2B5EF4-FFF2-40B4-BE49-F238E27FC236}">
                  <a16:creationId xmlns:a16="http://schemas.microsoft.com/office/drawing/2014/main" id="{9D25AFB6-D427-44D5-AB06-AFA85EE2045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319" y="1734820"/>
              <a:ext cx="302899" cy="302899"/>
            </a:xfrm>
            <a:prstGeom prst="rect">
              <a:avLst/>
            </a:prstGeom>
          </p:spPr>
        </p:pic>
      </p:grpSp>
      <p:pic>
        <p:nvPicPr>
          <p:cNvPr id="56" name="Graphic 55" descr="Venn diagram">
            <a:extLst>
              <a:ext uri="{FF2B5EF4-FFF2-40B4-BE49-F238E27FC236}">
                <a16:creationId xmlns:a16="http://schemas.microsoft.com/office/drawing/2014/main" id="{76B15EF1-54B6-4B6A-B8C6-6DDA513932E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87262" y="1320374"/>
            <a:ext cx="300636" cy="300636"/>
          </a:xfrm>
          <a:prstGeom prst="rect">
            <a:avLst/>
          </a:prstGeom>
        </p:spPr>
      </p:pic>
      <p:grpSp>
        <p:nvGrpSpPr>
          <p:cNvPr id="5" name="Group 4">
            <a:extLst>
              <a:ext uri="{FF2B5EF4-FFF2-40B4-BE49-F238E27FC236}">
                <a16:creationId xmlns:a16="http://schemas.microsoft.com/office/drawing/2014/main" id="{B6A724D0-A291-4022-893C-7FC67E7C4B85}"/>
              </a:ext>
            </a:extLst>
          </p:cNvPr>
          <p:cNvGrpSpPr/>
          <p:nvPr/>
        </p:nvGrpSpPr>
        <p:grpSpPr>
          <a:xfrm>
            <a:off x="753461" y="4306587"/>
            <a:ext cx="2053342" cy="1694648"/>
            <a:chOff x="753460" y="4306587"/>
            <a:chExt cx="2483955" cy="1694648"/>
          </a:xfrm>
        </p:grpSpPr>
        <p:sp>
          <p:nvSpPr>
            <p:cNvPr id="28" name="TextBox 27">
              <a:extLst>
                <a:ext uri="{FF2B5EF4-FFF2-40B4-BE49-F238E27FC236}">
                  <a16:creationId xmlns:a16="http://schemas.microsoft.com/office/drawing/2014/main" id="{68BE7FBA-7060-4F3A-B244-2006BF0ECDB4}"/>
                </a:ext>
              </a:extLst>
            </p:cNvPr>
            <p:cNvSpPr txBox="1"/>
            <p:nvPr/>
          </p:nvSpPr>
          <p:spPr>
            <a:xfrm>
              <a:off x="753460" y="4616240"/>
              <a:ext cx="2483955" cy="1384995"/>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85725" algn="l" defTabSz="914400" rtl="0" eaLnBrk="1" fontAlgn="auto" latinLnBrk="0" hangingPunct="1">
                <a:lnSpc>
                  <a:spcPct val="100000"/>
                </a:lnSpc>
                <a:spcBef>
                  <a:spcPts val="0"/>
                </a:spcBef>
                <a:spcAft>
                  <a:spcPts val="0"/>
                </a:spcAft>
                <a:buClrTx/>
                <a:buSzTx/>
                <a:buFont typeface="+mj-lt"/>
                <a:buAutoNum type="alphaUcPeriod"/>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Distribution screen to identify future opportunities and anticipate</a:t>
              </a:r>
              <a:r>
                <a:rPr lang="en-US" sz="1050">
                  <a:solidFill>
                    <a:srgbClr val="000000"/>
                  </a:solidFill>
                  <a:latin typeface="Calibri" panose="020F0502020204030204"/>
                </a:rPr>
                <a:t> replacement opportunities</a:t>
              </a:r>
            </a:p>
            <a:p>
              <a:pPr marL="85725" marR="0" lvl="0" indent="-85725" algn="l" defTabSz="914400" rtl="0" eaLnBrk="1" fontAlgn="auto" latinLnBrk="0" hangingPunct="1">
                <a:lnSpc>
                  <a:spcPct val="100000"/>
                </a:lnSpc>
                <a:spcBef>
                  <a:spcPts val="0"/>
                </a:spcBef>
                <a:spcAft>
                  <a:spcPts val="0"/>
                </a:spcAft>
                <a:buClrTx/>
                <a:buSzTx/>
                <a:buFont typeface="+mj-lt"/>
                <a:buAutoNum type="alphaUcPeriod"/>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Automate production and distribution of actionable intelligence through Salesforce for the sales team, consultant relations, and client service teams</a:t>
              </a:r>
              <a:endParaRPr lang="en-US" sz="1050">
                <a:solidFill>
                  <a:srgbClr val="000000"/>
                </a:solidFill>
                <a:latin typeface="Calibri" panose="020F0502020204030204"/>
              </a:endParaRPr>
            </a:p>
          </p:txBody>
        </p:sp>
        <p:sp>
          <p:nvSpPr>
            <p:cNvPr id="14" name="Rectangle 13">
              <a:extLst>
                <a:ext uri="{FF2B5EF4-FFF2-40B4-BE49-F238E27FC236}">
                  <a16:creationId xmlns:a16="http://schemas.microsoft.com/office/drawing/2014/main" id="{D7931A0B-3AFA-4EA6-9C9F-39EBC60F3089}"/>
                </a:ext>
              </a:extLst>
            </p:cNvPr>
            <p:cNvSpPr/>
            <p:nvPr/>
          </p:nvSpPr>
          <p:spPr>
            <a:xfrm>
              <a:off x="837514" y="4306587"/>
              <a:ext cx="2353726" cy="288000"/>
            </a:xfrm>
            <a:prstGeom prst="rect">
              <a:avLst/>
            </a:prstGeom>
            <a:solidFill>
              <a:schemeClr val="tx2">
                <a:lumMod val="50000"/>
                <a:lumOff val="50000"/>
              </a:schemeClr>
            </a:solidFill>
            <a:ln w="25400" cap="flat" cmpd="sng" algn="ctr">
              <a:noFill/>
              <a:prstDash val="solid"/>
            </a:ln>
            <a:effectLst/>
          </p:spPr>
          <p:txBody>
            <a:bodyPr numCol="1" rtlCol="0" anchor="ctr"/>
            <a:lstStyle/>
            <a:p>
              <a:pPr marL="0" marR="0" lvl="0" indent="0" algn="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Ongoing in-flight use cases</a:t>
              </a:r>
            </a:p>
          </p:txBody>
        </p:sp>
      </p:grpSp>
      <p:pic>
        <p:nvPicPr>
          <p:cNvPr id="117" name="Graphic 116" descr="Document">
            <a:extLst>
              <a:ext uri="{FF2B5EF4-FFF2-40B4-BE49-F238E27FC236}">
                <a16:creationId xmlns:a16="http://schemas.microsoft.com/office/drawing/2014/main" id="{EEA9AB0B-F5C4-4472-AE2B-17607DBE016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38724" y="4299050"/>
            <a:ext cx="268275" cy="280553"/>
          </a:xfrm>
          <a:prstGeom prst="rect">
            <a:avLst/>
          </a:prstGeom>
        </p:spPr>
      </p:pic>
      <p:grpSp>
        <p:nvGrpSpPr>
          <p:cNvPr id="7" name="Group 6">
            <a:extLst>
              <a:ext uri="{FF2B5EF4-FFF2-40B4-BE49-F238E27FC236}">
                <a16:creationId xmlns:a16="http://schemas.microsoft.com/office/drawing/2014/main" id="{94BEC00F-5F26-43F0-90BF-C2540C3BB8D2}"/>
              </a:ext>
            </a:extLst>
          </p:cNvPr>
          <p:cNvGrpSpPr/>
          <p:nvPr/>
        </p:nvGrpSpPr>
        <p:grpSpPr>
          <a:xfrm>
            <a:off x="9816236" y="4267284"/>
            <a:ext cx="1457032" cy="2287964"/>
            <a:chOff x="8437148" y="4741903"/>
            <a:chExt cx="2873118" cy="2287964"/>
          </a:xfrm>
        </p:grpSpPr>
        <p:sp>
          <p:nvSpPr>
            <p:cNvPr id="48" name="Rectangle 47">
              <a:extLst>
                <a:ext uri="{FF2B5EF4-FFF2-40B4-BE49-F238E27FC236}">
                  <a16:creationId xmlns:a16="http://schemas.microsoft.com/office/drawing/2014/main" id="{62549C25-8B51-48C0-98D4-C1550C8B7ACE}"/>
                </a:ext>
              </a:extLst>
            </p:cNvPr>
            <p:cNvSpPr/>
            <p:nvPr/>
          </p:nvSpPr>
          <p:spPr>
            <a:xfrm>
              <a:off x="8582686" y="4811100"/>
              <a:ext cx="2652486" cy="221876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524A068-07F3-47C8-8FB5-87E1559D7A3A}"/>
                </a:ext>
              </a:extLst>
            </p:cNvPr>
            <p:cNvSpPr/>
            <p:nvPr/>
          </p:nvSpPr>
          <p:spPr>
            <a:xfrm>
              <a:off x="8583442" y="4781206"/>
              <a:ext cx="265176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36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Estimated effort &amp; resources</a:t>
              </a:r>
              <a:r>
                <a:rPr kumimoji="0" lang="en-US" sz="1100" b="1" i="0" u="none" strike="noStrike" kern="0" cap="none" spc="0" normalizeH="0" baseline="30000" noProof="0">
                  <a:ln>
                    <a:noFill/>
                  </a:ln>
                  <a:solidFill>
                    <a:srgbClr val="000000"/>
                  </a:solidFill>
                  <a:effectLst/>
                  <a:uLnTx/>
                  <a:uFillTx/>
                  <a:latin typeface="Calibri" panose="020F0502020204030204"/>
                  <a:ea typeface="+mn-ea"/>
                  <a:cs typeface="Myriad Pro"/>
                </a:rPr>
                <a:t>**</a:t>
              </a:r>
            </a:p>
          </p:txBody>
        </p:sp>
        <p:pic>
          <p:nvPicPr>
            <p:cNvPr id="58" name="Graphic 57" descr="Boardroom">
              <a:extLst>
                <a:ext uri="{FF2B5EF4-FFF2-40B4-BE49-F238E27FC236}">
                  <a16:creationId xmlns:a16="http://schemas.microsoft.com/office/drawing/2014/main" id="{4E5C24BB-C906-4540-B069-A513F7BFA18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82652" y="4741903"/>
              <a:ext cx="396826" cy="319079"/>
            </a:xfrm>
            <a:prstGeom prst="rect">
              <a:avLst/>
            </a:prstGeom>
          </p:spPr>
        </p:pic>
        <p:sp>
          <p:nvSpPr>
            <p:cNvPr id="30" name="TextBox 29">
              <a:extLst>
                <a:ext uri="{FF2B5EF4-FFF2-40B4-BE49-F238E27FC236}">
                  <a16:creationId xmlns:a16="http://schemas.microsoft.com/office/drawing/2014/main" id="{F389E858-A470-4C96-B7C1-907C5AF62127}"/>
                </a:ext>
              </a:extLst>
            </p:cNvPr>
            <p:cNvSpPr txBox="1"/>
            <p:nvPr/>
          </p:nvSpPr>
          <p:spPr>
            <a:xfrm>
              <a:off x="8437148" y="5090859"/>
              <a:ext cx="2873118" cy="1862048"/>
            </a:xfrm>
            <a:prstGeom prst="rect">
              <a:avLst/>
            </a:prstGeom>
            <a:noFill/>
            <a:ln>
              <a:noFill/>
            </a:ln>
          </p:spPr>
          <p:txBody>
            <a:bodyPr wrap="square" lIns="0" tIns="0" rIns="0" bIns="0" rtlCol="0" anchor="t" anchorCtr="0">
              <a:spAutoFit/>
            </a:bodyPr>
            <a:lstStyle>
              <a:defPPr>
                <a:defRPr lang="en-US"/>
              </a:defPPr>
              <a:lvl1pPr marL="266700" indent="-180975">
                <a:buFont typeface="Arial" panose="020B0604020202020204" pitchFamily="34" charset="0"/>
                <a:buChar char="•"/>
                <a:defRPr sz="1100"/>
              </a:lvl1pPr>
            </a:lstStyle>
            <a:p>
              <a:pPr>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Business involvement necessary for analytics use cases  to become a succes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36 weeks of BI/Data analytics &amp; science work</a:t>
              </a:r>
            </a:p>
            <a:p>
              <a:pPr>
                <a:defRPr/>
              </a:pPr>
              <a:r>
                <a:rPr lang="en-US" b="1">
                  <a:solidFill>
                    <a:srgbClr val="000000"/>
                  </a:solidFill>
                  <a:latin typeface="Calibri" panose="020F0502020204030204"/>
                </a:rPr>
                <a:t>7</a:t>
              </a: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 workshops requiring business teams’ involvement</a:t>
              </a: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3" name="Straight Connector 12">
            <a:extLst>
              <a:ext uri="{FF2B5EF4-FFF2-40B4-BE49-F238E27FC236}">
                <a16:creationId xmlns:a16="http://schemas.microsoft.com/office/drawing/2014/main" id="{9DC6A804-7D66-4F30-AF44-BE367FD9E059}"/>
              </a:ext>
            </a:extLst>
          </p:cNvPr>
          <p:cNvCxnSpPr>
            <a:cxnSpLocks/>
          </p:cNvCxnSpPr>
          <p:nvPr/>
        </p:nvCxnSpPr>
        <p:spPr>
          <a:xfrm>
            <a:off x="820155" y="1264286"/>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0" name="Flowchart: Manual Input 59">
            <a:extLst>
              <a:ext uri="{FF2B5EF4-FFF2-40B4-BE49-F238E27FC236}">
                <a16:creationId xmlns:a16="http://schemas.microsoft.com/office/drawing/2014/main" id="{3D42F83C-DCF0-48E4-BF7A-909020AF5DFC}"/>
              </a:ext>
            </a:extLst>
          </p:cNvPr>
          <p:cNvSpPr/>
          <p:nvPr/>
        </p:nvSpPr>
        <p:spPr>
          <a:xfrm>
            <a:off x="820154" y="935457"/>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a:t>
            </a:r>
            <a:r>
              <a:rPr lang="en-US" sz="1200" b="1">
                <a:solidFill>
                  <a:prstClr val="white"/>
                </a:solidFill>
                <a:latin typeface="Calibri" panose="020F0502020204030204"/>
              </a:rPr>
              <a:t>4</a:t>
            </a: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1" name="Group 60">
            <a:extLst>
              <a:ext uri="{FF2B5EF4-FFF2-40B4-BE49-F238E27FC236}">
                <a16:creationId xmlns:a16="http://schemas.microsoft.com/office/drawing/2014/main" id="{78EB94CD-1095-4126-8716-A89389A65961}"/>
              </a:ext>
            </a:extLst>
          </p:cNvPr>
          <p:cNvGrpSpPr/>
          <p:nvPr/>
        </p:nvGrpSpPr>
        <p:grpSpPr>
          <a:xfrm>
            <a:off x="7292031" y="3447843"/>
            <a:ext cx="209548" cy="183266"/>
            <a:chOff x="1149350" y="-1619250"/>
            <a:chExt cx="374650" cy="328613"/>
          </a:xfrm>
          <a:solidFill>
            <a:schemeClr val="bg1"/>
          </a:solidFill>
        </p:grpSpPr>
        <p:sp>
          <p:nvSpPr>
            <p:cNvPr id="62" name="Oval 60833">
              <a:extLst>
                <a:ext uri="{FF2B5EF4-FFF2-40B4-BE49-F238E27FC236}">
                  <a16:creationId xmlns:a16="http://schemas.microsoft.com/office/drawing/2014/main" id="{D04E19AF-9A16-44B1-A4E8-6017A76F5522}"/>
                </a:ext>
              </a:extLst>
            </p:cNvPr>
            <p:cNvSpPr>
              <a:spLocks noChangeArrowheads="1"/>
            </p:cNvSpPr>
            <p:nvPr/>
          </p:nvSpPr>
          <p:spPr bwMode="auto">
            <a:xfrm>
              <a:off x="1341438" y="-1465263"/>
              <a:ext cx="58738" cy="58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3" name="Oval 60834">
              <a:extLst>
                <a:ext uri="{FF2B5EF4-FFF2-40B4-BE49-F238E27FC236}">
                  <a16:creationId xmlns:a16="http://schemas.microsoft.com/office/drawing/2014/main" id="{3234EBD3-82C5-49B0-97CA-2E8B61B77BC5}"/>
                </a:ext>
              </a:extLst>
            </p:cNvPr>
            <p:cNvSpPr>
              <a:spLocks noChangeArrowheads="1"/>
            </p:cNvSpPr>
            <p:nvPr/>
          </p:nvSpPr>
          <p:spPr bwMode="auto">
            <a:xfrm>
              <a:off x="1446213" y="-15652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4" name="Freeform 60835">
              <a:extLst>
                <a:ext uri="{FF2B5EF4-FFF2-40B4-BE49-F238E27FC236}">
                  <a16:creationId xmlns:a16="http://schemas.microsoft.com/office/drawing/2014/main" id="{7F24F43C-B9BC-42F3-9C64-45BE05479B71}"/>
                </a:ext>
              </a:extLst>
            </p:cNvPr>
            <p:cNvSpPr>
              <a:spLocks noEditPoints="1"/>
            </p:cNvSpPr>
            <p:nvPr/>
          </p:nvSpPr>
          <p:spPr bwMode="auto">
            <a:xfrm>
              <a:off x="1149350" y="-1619250"/>
              <a:ext cx="374650" cy="328613"/>
            </a:xfrm>
            <a:custGeom>
              <a:avLst/>
              <a:gdLst>
                <a:gd name="T0" fmla="*/ 70 w 100"/>
                <a:gd name="T1" fmla="*/ 57 h 85"/>
                <a:gd name="T2" fmla="*/ 79 w 100"/>
                <a:gd name="T3" fmla="*/ 24 h 85"/>
                <a:gd name="T4" fmla="*/ 83 w 100"/>
                <a:gd name="T5" fmla="*/ 11 h 85"/>
                <a:gd name="T6" fmla="*/ 67 w 100"/>
                <a:gd name="T7" fmla="*/ 35 h 85"/>
                <a:gd name="T8" fmla="*/ 37 w 100"/>
                <a:gd name="T9" fmla="*/ 12 h 85"/>
                <a:gd name="T10" fmla="*/ 32 w 100"/>
                <a:gd name="T11" fmla="*/ 0 h 85"/>
                <a:gd name="T12" fmla="*/ 35 w 100"/>
                <a:gd name="T13" fmla="*/ 14 h 85"/>
                <a:gd name="T14" fmla="*/ 44 w 100"/>
                <a:gd name="T15" fmla="*/ 43 h 85"/>
                <a:gd name="T16" fmla="*/ 7 w 100"/>
                <a:gd name="T17" fmla="*/ 26 h 85"/>
                <a:gd name="T18" fmla="*/ 7 w 100"/>
                <a:gd name="T19" fmla="*/ 40 h 85"/>
                <a:gd name="T20" fmla="*/ 44 w 100"/>
                <a:gd name="T21" fmla="*/ 45 h 85"/>
                <a:gd name="T22" fmla="*/ 22 w 100"/>
                <a:gd name="T23" fmla="*/ 73 h 85"/>
                <a:gd name="T24" fmla="*/ 9 w 100"/>
                <a:gd name="T25" fmla="*/ 77 h 85"/>
                <a:gd name="T26" fmla="*/ 23 w 100"/>
                <a:gd name="T27" fmla="*/ 75 h 85"/>
                <a:gd name="T28" fmla="*/ 47 w 100"/>
                <a:gd name="T29" fmla="*/ 57 h 85"/>
                <a:gd name="T30" fmla="*/ 87 w 100"/>
                <a:gd name="T31" fmla="*/ 75 h 85"/>
                <a:gd name="T32" fmla="*/ 100 w 100"/>
                <a:gd name="T33" fmla="*/ 78 h 85"/>
                <a:gd name="T34" fmla="*/ 77 w 100"/>
                <a:gd name="T35" fmla="*/ 18 h 85"/>
                <a:gd name="T36" fmla="*/ 88 w 100"/>
                <a:gd name="T37" fmla="*/ 18 h 85"/>
                <a:gd name="T38" fmla="*/ 77 w 100"/>
                <a:gd name="T39" fmla="*/ 18 h 85"/>
                <a:gd name="T40" fmla="*/ 27 w 100"/>
                <a:gd name="T41" fmla="*/ 7 h 85"/>
                <a:gd name="T42" fmla="*/ 38 w 100"/>
                <a:gd name="T43" fmla="*/ 7 h 85"/>
                <a:gd name="T44" fmla="*/ 7 w 100"/>
                <a:gd name="T45" fmla="*/ 38 h 85"/>
                <a:gd name="T46" fmla="*/ 7 w 100"/>
                <a:gd name="T47" fmla="*/ 27 h 85"/>
                <a:gd name="T48" fmla="*/ 7 w 100"/>
                <a:gd name="T49" fmla="*/ 38 h 85"/>
                <a:gd name="T50" fmla="*/ 11 w 100"/>
                <a:gd name="T51" fmla="*/ 77 h 85"/>
                <a:gd name="T52" fmla="*/ 22 w 100"/>
                <a:gd name="T53" fmla="*/ 77 h 85"/>
                <a:gd name="T54" fmla="*/ 59 w 100"/>
                <a:gd name="T55" fmla="*/ 59 h 85"/>
                <a:gd name="T56" fmla="*/ 59 w 100"/>
                <a:gd name="T57" fmla="*/ 36 h 85"/>
                <a:gd name="T58" fmla="*/ 59 w 100"/>
                <a:gd name="T59" fmla="*/ 59 h 85"/>
                <a:gd name="T60" fmla="*/ 87 w 100"/>
                <a:gd name="T61" fmla="*/ 78 h 85"/>
                <a:gd name="T62" fmla="*/ 98 w 100"/>
                <a:gd name="T63"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85">
                  <a:moveTo>
                    <a:pt x="88" y="73"/>
                  </a:moveTo>
                  <a:cubicBezTo>
                    <a:pt x="70" y="57"/>
                    <a:pt x="70" y="57"/>
                    <a:pt x="70" y="57"/>
                  </a:cubicBezTo>
                  <a:cubicBezTo>
                    <a:pt x="76" y="51"/>
                    <a:pt x="75" y="42"/>
                    <a:pt x="69" y="36"/>
                  </a:cubicBezTo>
                  <a:cubicBezTo>
                    <a:pt x="79" y="24"/>
                    <a:pt x="79" y="24"/>
                    <a:pt x="79" y="24"/>
                  </a:cubicBezTo>
                  <a:cubicBezTo>
                    <a:pt x="84" y="26"/>
                    <a:pt x="90" y="23"/>
                    <a:pt x="90" y="18"/>
                  </a:cubicBezTo>
                  <a:cubicBezTo>
                    <a:pt x="90" y="14"/>
                    <a:pt x="86" y="11"/>
                    <a:pt x="83" y="11"/>
                  </a:cubicBezTo>
                  <a:cubicBezTo>
                    <a:pt x="77" y="11"/>
                    <a:pt x="73" y="18"/>
                    <a:pt x="77" y="22"/>
                  </a:cubicBezTo>
                  <a:cubicBezTo>
                    <a:pt x="67" y="35"/>
                    <a:pt x="67" y="35"/>
                    <a:pt x="67" y="35"/>
                  </a:cubicBezTo>
                  <a:cubicBezTo>
                    <a:pt x="62" y="32"/>
                    <a:pt x="56" y="31"/>
                    <a:pt x="52" y="34"/>
                  </a:cubicBezTo>
                  <a:cubicBezTo>
                    <a:pt x="37" y="12"/>
                    <a:pt x="37" y="12"/>
                    <a:pt x="37" y="12"/>
                  </a:cubicBezTo>
                  <a:cubicBezTo>
                    <a:pt x="39" y="11"/>
                    <a:pt x="39" y="9"/>
                    <a:pt x="39" y="7"/>
                  </a:cubicBezTo>
                  <a:cubicBezTo>
                    <a:pt x="39" y="3"/>
                    <a:pt x="36" y="0"/>
                    <a:pt x="32" y="0"/>
                  </a:cubicBezTo>
                  <a:cubicBezTo>
                    <a:pt x="29" y="0"/>
                    <a:pt x="25" y="3"/>
                    <a:pt x="25" y="7"/>
                  </a:cubicBezTo>
                  <a:cubicBezTo>
                    <a:pt x="25" y="12"/>
                    <a:pt x="31" y="16"/>
                    <a:pt x="35" y="14"/>
                  </a:cubicBezTo>
                  <a:cubicBezTo>
                    <a:pt x="49" y="35"/>
                    <a:pt x="49" y="35"/>
                    <a:pt x="49" y="35"/>
                  </a:cubicBezTo>
                  <a:cubicBezTo>
                    <a:pt x="47" y="37"/>
                    <a:pt x="45" y="40"/>
                    <a:pt x="44" y="43"/>
                  </a:cubicBezTo>
                  <a:cubicBezTo>
                    <a:pt x="14" y="34"/>
                    <a:pt x="14" y="34"/>
                    <a:pt x="14" y="34"/>
                  </a:cubicBezTo>
                  <a:cubicBezTo>
                    <a:pt x="14" y="30"/>
                    <a:pt x="11" y="26"/>
                    <a:pt x="7" y="26"/>
                  </a:cubicBezTo>
                  <a:cubicBezTo>
                    <a:pt x="3" y="26"/>
                    <a:pt x="0" y="29"/>
                    <a:pt x="0" y="33"/>
                  </a:cubicBezTo>
                  <a:cubicBezTo>
                    <a:pt x="0" y="37"/>
                    <a:pt x="3" y="40"/>
                    <a:pt x="7" y="40"/>
                  </a:cubicBezTo>
                  <a:cubicBezTo>
                    <a:pt x="9" y="40"/>
                    <a:pt x="12" y="38"/>
                    <a:pt x="13" y="36"/>
                  </a:cubicBezTo>
                  <a:cubicBezTo>
                    <a:pt x="44" y="45"/>
                    <a:pt x="44" y="45"/>
                    <a:pt x="44" y="45"/>
                  </a:cubicBezTo>
                  <a:cubicBezTo>
                    <a:pt x="43" y="49"/>
                    <a:pt x="44" y="53"/>
                    <a:pt x="46" y="56"/>
                  </a:cubicBezTo>
                  <a:cubicBezTo>
                    <a:pt x="22" y="73"/>
                    <a:pt x="22" y="73"/>
                    <a:pt x="22" y="73"/>
                  </a:cubicBezTo>
                  <a:cubicBezTo>
                    <a:pt x="20" y="71"/>
                    <a:pt x="18" y="70"/>
                    <a:pt x="16" y="70"/>
                  </a:cubicBezTo>
                  <a:cubicBezTo>
                    <a:pt x="13" y="70"/>
                    <a:pt x="9" y="73"/>
                    <a:pt x="9" y="77"/>
                  </a:cubicBezTo>
                  <a:cubicBezTo>
                    <a:pt x="9" y="81"/>
                    <a:pt x="13" y="84"/>
                    <a:pt x="16" y="84"/>
                  </a:cubicBezTo>
                  <a:cubicBezTo>
                    <a:pt x="21" y="84"/>
                    <a:pt x="25" y="79"/>
                    <a:pt x="23" y="75"/>
                  </a:cubicBezTo>
                  <a:cubicBezTo>
                    <a:pt x="48" y="58"/>
                    <a:pt x="48" y="58"/>
                    <a:pt x="48" y="58"/>
                  </a:cubicBezTo>
                  <a:cubicBezTo>
                    <a:pt x="47" y="57"/>
                    <a:pt x="47" y="57"/>
                    <a:pt x="47" y="57"/>
                  </a:cubicBezTo>
                  <a:cubicBezTo>
                    <a:pt x="52" y="63"/>
                    <a:pt x="62" y="64"/>
                    <a:pt x="68" y="59"/>
                  </a:cubicBezTo>
                  <a:cubicBezTo>
                    <a:pt x="87" y="75"/>
                    <a:pt x="87" y="75"/>
                    <a:pt x="87" y="75"/>
                  </a:cubicBezTo>
                  <a:cubicBezTo>
                    <a:pt x="84" y="79"/>
                    <a:pt x="87" y="85"/>
                    <a:pt x="93" y="85"/>
                  </a:cubicBezTo>
                  <a:cubicBezTo>
                    <a:pt x="97" y="85"/>
                    <a:pt x="100" y="82"/>
                    <a:pt x="100" y="78"/>
                  </a:cubicBezTo>
                  <a:cubicBezTo>
                    <a:pt x="100" y="73"/>
                    <a:pt x="93" y="69"/>
                    <a:pt x="88" y="73"/>
                  </a:cubicBezTo>
                  <a:close/>
                  <a:moveTo>
                    <a:pt x="77" y="18"/>
                  </a:moveTo>
                  <a:cubicBezTo>
                    <a:pt x="77" y="15"/>
                    <a:pt x="80" y="12"/>
                    <a:pt x="83" y="12"/>
                  </a:cubicBezTo>
                  <a:cubicBezTo>
                    <a:pt x="86" y="12"/>
                    <a:pt x="88" y="15"/>
                    <a:pt x="88" y="18"/>
                  </a:cubicBezTo>
                  <a:cubicBezTo>
                    <a:pt x="88" y="21"/>
                    <a:pt x="86" y="23"/>
                    <a:pt x="83" y="23"/>
                  </a:cubicBezTo>
                  <a:cubicBezTo>
                    <a:pt x="80" y="23"/>
                    <a:pt x="77" y="21"/>
                    <a:pt x="77" y="18"/>
                  </a:cubicBezTo>
                  <a:close/>
                  <a:moveTo>
                    <a:pt x="32" y="13"/>
                  </a:moveTo>
                  <a:cubicBezTo>
                    <a:pt x="29" y="13"/>
                    <a:pt x="27" y="10"/>
                    <a:pt x="27" y="7"/>
                  </a:cubicBezTo>
                  <a:cubicBezTo>
                    <a:pt x="27" y="4"/>
                    <a:pt x="29" y="2"/>
                    <a:pt x="32" y="2"/>
                  </a:cubicBezTo>
                  <a:cubicBezTo>
                    <a:pt x="35" y="2"/>
                    <a:pt x="38" y="4"/>
                    <a:pt x="38" y="7"/>
                  </a:cubicBezTo>
                  <a:cubicBezTo>
                    <a:pt x="38" y="10"/>
                    <a:pt x="35" y="13"/>
                    <a:pt x="32" y="13"/>
                  </a:cubicBezTo>
                  <a:close/>
                  <a:moveTo>
                    <a:pt x="7" y="38"/>
                  </a:moveTo>
                  <a:cubicBezTo>
                    <a:pt x="4" y="38"/>
                    <a:pt x="1" y="36"/>
                    <a:pt x="1" y="33"/>
                  </a:cubicBezTo>
                  <a:cubicBezTo>
                    <a:pt x="1" y="30"/>
                    <a:pt x="4" y="27"/>
                    <a:pt x="7" y="27"/>
                  </a:cubicBezTo>
                  <a:cubicBezTo>
                    <a:pt x="10" y="27"/>
                    <a:pt x="12" y="30"/>
                    <a:pt x="12" y="33"/>
                  </a:cubicBezTo>
                  <a:cubicBezTo>
                    <a:pt x="12" y="36"/>
                    <a:pt x="10" y="38"/>
                    <a:pt x="7" y="38"/>
                  </a:cubicBezTo>
                  <a:close/>
                  <a:moveTo>
                    <a:pt x="16" y="83"/>
                  </a:moveTo>
                  <a:cubicBezTo>
                    <a:pt x="13" y="83"/>
                    <a:pt x="11" y="80"/>
                    <a:pt x="11" y="77"/>
                  </a:cubicBezTo>
                  <a:cubicBezTo>
                    <a:pt x="11" y="74"/>
                    <a:pt x="13" y="72"/>
                    <a:pt x="16" y="72"/>
                  </a:cubicBezTo>
                  <a:cubicBezTo>
                    <a:pt x="19" y="72"/>
                    <a:pt x="22" y="74"/>
                    <a:pt x="22" y="77"/>
                  </a:cubicBezTo>
                  <a:cubicBezTo>
                    <a:pt x="22" y="80"/>
                    <a:pt x="19" y="83"/>
                    <a:pt x="16" y="83"/>
                  </a:cubicBezTo>
                  <a:close/>
                  <a:moveTo>
                    <a:pt x="59" y="59"/>
                  </a:moveTo>
                  <a:cubicBezTo>
                    <a:pt x="52" y="59"/>
                    <a:pt x="47" y="54"/>
                    <a:pt x="47" y="47"/>
                  </a:cubicBezTo>
                  <a:cubicBezTo>
                    <a:pt x="47" y="41"/>
                    <a:pt x="52" y="36"/>
                    <a:pt x="59" y="36"/>
                  </a:cubicBezTo>
                  <a:cubicBezTo>
                    <a:pt x="65" y="36"/>
                    <a:pt x="71" y="41"/>
                    <a:pt x="71" y="47"/>
                  </a:cubicBezTo>
                  <a:cubicBezTo>
                    <a:pt x="71" y="54"/>
                    <a:pt x="65" y="59"/>
                    <a:pt x="59" y="59"/>
                  </a:cubicBezTo>
                  <a:close/>
                  <a:moveTo>
                    <a:pt x="93" y="84"/>
                  </a:moveTo>
                  <a:cubicBezTo>
                    <a:pt x="90" y="84"/>
                    <a:pt x="87" y="81"/>
                    <a:pt x="87" y="78"/>
                  </a:cubicBezTo>
                  <a:cubicBezTo>
                    <a:pt x="87" y="75"/>
                    <a:pt x="90" y="73"/>
                    <a:pt x="93" y="73"/>
                  </a:cubicBezTo>
                  <a:cubicBezTo>
                    <a:pt x="96" y="73"/>
                    <a:pt x="98" y="75"/>
                    <a:pt x="98" y="78"/>
                  </a:cubicBezTo>
                  <a:cubicBezTo>
                    <a:pt x="98" y="81"/>
                    <a:pt x="96" y="84"/>
                    <a:pt x="9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5" name="Oval 60836">
              <a:extLst>
                <a:ext uri="{FF2B5EF4-FFF2-40B4-BE49-F238E27FC236}">
                  <a16:creationId xmlns:a16="http://schemas.microsoft.com/office/drawing/2014/main" id="{058B4A9E-7115-4ECB-984F-512ADB31769D}"/>
                </a:ext>
              </a:extLst>
            </p:cNvPr>
            <p:cNvSpPr>
              <a:spLocks noChangeArrowheads="1"/>
            </p:cNvSpPr>
            <p:nvPr/>
          </p:nvSpPr>
          <p:spPr bwMode="auto">
            <a:xfrm>
              <a:off x="1482725" y="-13303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6" name="Oval 60837">
              <a:extLst>
                <a:ext uri="{FF2B5EF4-FFF2-40B4-BE49-F238E27FC236}">
                  <a16:creationId xmlns:a16="http://schemas.microsoft.com/office/drawing/2014/main" id="{456E5C91-DEEF-431F-9427-466EBD202453}"/>
                </a:ext>
              </a:extLst>
            </p:cNvPr>
            <p:cNvSpPr>
              <a:spLocks noChangeArrowheads="1"/>
            </p:cNvSpPr>
            <p:nvPr/>
          </p:nvSpPr>
          <p:spPr bwMode="auto">
            <a:xfrm>
              <a:off x="1198563" y="-1333500"/>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7" name="Oval 60838">
              <a:extLst>
                <a:ext uri="{FF2B5EF4-FFF2-40B4-BE49-F238E27FC236}">
                  <a16:creationId xmlns:a16="http://schemas.microsoft.com/office/drawing/2014/main" id="{9DA856AD-2BF4-42B8-888C-2AA2EB6A854B}"/>
                </a:ext>
              </a:extLst>
            </p:cNvPr>
            <p:cNvSpPr>
              <a:spLocks noChangeArrowheads="1"/>
            </p:cNvSpPr>
            <p:nvPr/>
          </p:nvSpPr>
          <p:spPr bwMode="auto">
            <a:xfrm>
              <a:off x="1160463" y="-15081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8" name="Oval 60839">
              <a:extLst>
                <a:ext uri="{FF2B5EF4-FFF2-40B4-BE49-F238E27FC236}">
                  <a16:creationId xmlns:a16="http://schemas.microsoft.com/office/drawing/2014/main" id="{E9424620-7FA3-4847-89B6-4DAC4E7F08D8}"/>
                </a:ext>
              </a:extLst>
            </p:cNvPr>
            <p:cNvSpPr>
              <a:spLocks noChangeArrowheads="1"/>
            </p:cNvSpPr>
            <p:nvPr/>
          </p:nvSpPr>
          <p:spPr bwMode="auto">
            <a:xfrm>
              <a:off x="1258888" y="-16033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grpSp>
      <p:sp>
        <p:nvSpPr>
          <p:cNvPr id="3" name="Rectangle 2">
            <a:extLst>
              <a:ext uri="{FF2B5EF4-FFF2-40B4-BE49-F238E27FC236}">
                <a16:creationId xmlns:a16="http://schemas.microsoft.com/office/drawing/2014/main" id="{C05B8C25-F0DA-4399-B55A-AE66A373AF1E}"/>
              </a:ext>
            </a:extLst>
          </p:cNvPr>
          <p:cNvSpPr/>
          <p:nvPr/>
        </p:nvSpPr>
        <p:spPr>
          <a:xfrm>
            <a:off x="834191" y="1335712"/>
            <a:ext cx="927935" cy="1740483"/>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A60197FE-1894-45BD-A453-779621B3CEAA}"/>
              </a:ext>
            </a:extLst>
          </p:cNvPr>
          <p:cNvSpPr/>
          <p:nvPr/>
        </p:nvSpPr>
        <p:spPr>
          <a:xfrm>
            <a:off x="834192" y="1335714"/>
            <a:ext cx="927934"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sp>
        <p:nvSpPr>
          <p:cNvPr id="34" name="TextBox 33">
            <a:extLst>
              <a:ext uri="{FF2B5EF4-FFF2-40B4-BE49-F238E27FC236}">
                <a16:creationId xmlns:a16="http://schemas.microsoft.com/office/drawing/2014/main" id="{7212C24E-EDB2-4549-B3DA-085417606D8B}"/>
              </a:ext>
            </a:extLst>
          </p:cNvPr>
          <p:cNvSpPr txBox="1"/>
          <p:nvPr/>
        </p:nvSpPr>
        <p:spPr>
          <a:xfrm>
            <a:off x="778374" y="1629658"/>
            <a:ext cx="1007618" cy="1400383"/>
          </a:xfrm>
          <a:prstGeom prst="rect">
            <a:avLst/>
          </a:prstGeom>
          <a:noFill/>
          <a:ln>
            <a:noFill/>
          </a:ln>
        </p:spPr>
        <p:txBody>
          <a:bodyPr wrap="square" lIns="0" t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kern="1200" cap="none" spc="0" normalizeH="0" baseline="0" noProof="0">
                <a:ln>
                  <a:noFill/>
                </a:ln>
                <a:solidFill>
                  <a:srgbClr val="000000"/>
                </a:solidFill>
                <a:effectLst/>
                <a:uLnTx/>
                <a:uFillTx/>
                <a:latin typeface="Calibri" panose="020F0502020204030204"/>
                <a:ea typeface="+mn-ea"/>
                <a:cs typeface="+mn-cs"/>
              </a:rPr>
              <a:t>Head of Global Insights team</a:t>
            </a:r>
          </a:p>
          <a:p>
            <a:pPr>
              <a:defRPr/>
            </a:pPr>
            <a:r>
              <a:rPr kumimoji="0" lang="nl-NL" sz="1100" b="0" i="0" u="none" kern="1200" cap="none" spc="0" normalizeH="0" baseline="0" noProof="0">
                <a:ln>
                  <a:noFill/>
                </a:ln>
                <a:solidFill>
                  <a:srgbClr val="000000"/>
                </a:solidFill>
                <a:effectLst/>
                <a:uLnTx/>
                <a:uFillTx/>
                <a:latin typeface="Calibri" panose="020F0502020204030204"/>
                <a:ea typeface="+mn-ea"/>
                <a:cs typeface="+mn-cs"/>
              </a:rPr>
              <a:t>Executive sponsor CAO</a:t>
            </a:r>
          </a:p>
          <a:p>
            <a:pPr>
              <a:defRPr/>
            </a:pPr>
            <a:r>
              <a:rPr kumimoji="0" lang="en-US" sz="1100" b="0" i="1" u="none" kern="1200" cap="none" spc="0" normalizeH="0" baseline="0" noProof="0">
                <a:ln>
                  <a:noFill/>
                </a:ln>
                <a:solidFill>
                  <a:srgbClr val="000000"/>
                </a:solidFill>
                <a:effectLst/>
                <a:uLnTx/>
                <a:uFillTx/>
                <a:latin typeface="Calibri" panose="020F0502020204030204"/>
                <a:ea typeface="+mn-ea"/>
                <a:cs typeface="+mn-cs"/>
              </a:rPr>
              <a:t>Enablers: CTO &amp; CDO</a:t>
            </a:r>
          </a:p>
        </p:txBody>
      </p:sp>
      <p:pic>
        <p:nvPicPr>
          <p:cNvPr id="51"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0152" y="1336351"/>
            <a:ext cx="226745" cy="293219"/>
          </a:xfrm>
          <a:prstGeom prst="rect">
            <a:avLst/>
          </a:prstGeom>
        </p:spPr>
      </p:pic>
      <p:sp>
        <p:nvSpPr>
          <p:cNvPr id="69" name="Rectangle 68">
            <a:extLst>
              <a:ext uri="{FF2B5EF4-FFF2-40B4-BE49-F238E27FC236}">
                <a16:creationId xmlns:a16="http://schemas.microsoft.com/office/drawing/2014/main" id="{5E0017BF-BCFA-4276-9DB3-D436F8FBC6CF}"/>
              </a:ext>
            </a:extLst>
          </p:cNvPr>
          <p:cNvSpPr/>
          <p:nvPr/>
        </p:nvSpPr>
        <p:spPr>
          <a:xfrm>
            <a:off x="820138" y="3160924"/>
            <a:ext cx="926730" cy="109517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DBCAD89-3EBD-41C5-88C3-FCF5F4AA1EF8}"/>
              </a:ext>
            </a:extLst>
          </p:cNvPr>
          <p:cNvSpPr/>
          <p:nvPr/>
        </p:nvSpPr>
        <p:spPr>
          <a:xfrm>
            <a:off x="833490" y="3134838"/>
            <a:ext cx="913378"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Required </a:t>
            </a:r>
          </a:p>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Budget</a:t>
            </a:r>
            <a:r>
              <a:rPr kumimoji="0" lang="en-US" sz="1100" b="1" i="0" u="none" strike="noStrike" kern="0" cap="none" spc="0" normalizeH="0" baseline="30000" noProof="0">
                <a:ln>
                  <a:noFill/>
                </a:ln>
                <a:solidFill>
                  <a:srgbClr val="000000"/>
                </a:solidFill>
                <a:effectLst/>
                <a:uLnTx/>
                <a:uFillTx/>
                <a:latin typeface="Calibri" panose="020F0502020204030204"/>
                <a:ea typeface="+mn-ea"/>
                <a:cs typeface="Myriad Pro"/>
              </a:rPr>
              <a:t>*</a:t>
            </a:r>
          </a:p>
        </p:txBody>
      </p:sp>
      <p:pic>
        <p:nvPicPr>
          <p:cNvPr id="71" name="Picture 70">
            <a:extLst>
              <a:ext uri="{FF2B5EF4-FFF2-40B4-BE49-F238E27FC236}">
                <a16:creationId xmlns:a16="http://schemas.microsoft.com/office/drawing/2014/main" id="{E3C4C210-1727-4B58-B28E-6980255156FB}"/>
              </a:ext>
            </a:extLst>
          </p:cNvPr>
          <p:cNvPicPr>
            <a:picLocks noChangeAspect="1"/>
          </p:cNvPicPr>
          <p:nvPr/>
        </p:nvPicPr>
        <p:blipFill>
          <a:blip r:embed="rId13"/>
          <a:stretch>
            <a:fillRect/>
          </a:stretch>
        </p:blipFill>
        <p:spPr>
          <a:xfrm>
            <a:off x="872759" y="3160924"/>
            <a:ext cx="196528" cy="234923"/>
          </a:xfrm>
          <a:prstGeom prst="rect">
            <a:avLst/>
          </a:prstGeom>
        </p:spPr>
      </p:pic>
      <p:sp>
        <p:nvSpPr>
          <p:cNvPr id="19" name="Rectangle 68">
            <a:extLst>
              <a:ext uri="{FF2B5EF4-FFF2-40B4-BE49-F238E27FC236}">
                <a16:creationId xmlns:a16="http://schemas.microsoft.com/office/drawing/2014/main" id="{5E0017BF-BCFA-4276-9DB3-D436F8FBC6CF}"/>
              </a:ext>
            </a:extLst>
          </p:cNvPr>
          <p:cNvSpPr/>
          <p:nvPr/>
        </p:nvSpPr>
        <p:spPr>
          <a:xfrm>
            <a:off x="820138" y="3411416"/>
            <a:ext cx="926730" cy="844686"/>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0" lang="en-US" sz="1100" b="0" i="0" u="none" strike="noStrike" kern="1200" cap="none" spc="0" normalizeH="0" baseline="0" noProof="0">
                <a:ln>
                  <a:noFill/>
                </a:ln>
                <a:solidFill>
                  <a:schemeClr val="tx1"/>
                </a:solidFill>
                <a:effectLst/>
                <a:uLnTx/>
                <a:uFillTx/>
                <a:latin typeface="Calibri" panose="020F0502020204030204"/>
                <a:ea typeface="+mn-ea"/>
                <a:cs typeface="+mn-cs"/>
              </a:rPr>
              <a:t>~ </a:t>
            </a:r>
            <a:r>
              <a:rPr lang="en-US" sz="1100">
                <a:solidFill>
                  <a:schemeClr val="tx1"/>
                </a:solidFill>
                <a:latin typeface="Calibri" panose="020F0502020204030204"/>
              </a:rPr>
              <a:t>€ 285.000 (excl. use case ideas of next two pages)</a:t>
            </a:r>
          </a:p>
        </p:txBody>
      </p:sp>
      <p:sp>
        <p:nvSpPr>
          <p:cNvPr id="12" name="Rectangle 30">
            <a:extLst>
              <a:ext uri="{FF2B5EF4-FFF2-40B4-BE49-F238E27FC236}">
                <a16:creationId xmlns:a16="http://schemas.microsoft.com/office/drawing/2014/main" id="{A60197FE-1894-45BD-A453-779621B3CEAA}"/>
              </a:ext>
            </a:extLst>
          </p:cNvPr>
          <p:cNvSpPr/>
          <p:nvPr/>
        </p:nvSpPr>
        <p:spPr>
          <a:xfrm>
            <a:off x="834192" y="1335714"/>
            <a:ext cx="927934"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pic>
        <p:nvPicPr>
          <p:cNvPr id="18"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0152" y="1336351"/>
            <a:ext cx="226745" cy="293219"/>
          </a:xfrm>
          <a:prstGeom prst="rect">
            <a:avLst/>
          </a:prstGeom>
        </p:spPr>
      </p:pic>
      <p:sp>
        <p:nvSpPr>
          <p:cNvPr id="8" name="Oval 7">
            <a:extLst>
              <a:ext uri="{FF2B5EF4-FFF2-40B4-BE49-F238E27FC236}">
                <a16:creationId xmlns:a16="http://schemas.microsoft.com/office/drawing/2014/main" id="{A42495AB-424A-4CC9-81E9-B3B20A9B6522}"/>
              </a:ext>
            </a:extLst>
          </p:cNvPr>
          <p:cNvSpPr/>
          <p:nvPr/>
        </p:nvSpPr>
        <p:spPr>
          <a:xfrm>
            <a:off x="2609237" y="227389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2" name="Oval 51">
            <a:extLst>
              <a:ext uri="{FF2B5EF4-FFF2-40B4-BE49-F238E27FC236}">
                <a16:creationId xmlns:a16="http://schemas.microsoft.com/office/drawing/2014/main" id="{5114129A-91B1-4810-A2D3-2AF747B0A096}"/>
              </a:ext>
            </a:extLst>
          </p:cNvPr>
          <p:cNvSpPr/>
          <p:nvPr/>
        </p:nvSpPr>
        <p:spPr>
          <a:xfrm>
            <a:off x="4139569" y="2283454"/>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55" name="Oval 54">
            <a:extLst>
              <a:ext uri="{FF2B5EF4-FFF2-40B4-BE49-F238E27FC236}">
                <a16:creationId xmlns:a16="http://schemas.microsoft.com/office/drawing/2014/main" id="{E9A5CCCE-D75D-4917-8066-31F9EDE07D99}"/>
              </a:ext>
            </a:extLst>
          </p:cNvPr>
          <p:cNvSpPr/>
          <p:nvPr/>
        </p:nvSpPr>
        <p:spPr>
          <a:xfrm>
            <a:off x="2585794" y="246120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74" name="Oval 73">
            <a:extLst>
              <a:ext uri="{FF2B5EF4-FFF2-40B4-BE49-F238E27FC236}">
                <a16:creationId xmlns:a16="http://schemas.microsoft.com/office/drawing/2014/main" id="{9DBE4B27-1477-472F-98F4-F6F4A92AFC7C}"/>
              </a:ext>
            </a:extLst>
          </p:cNvPr>
          <p:cNvSpPr/>
          <p:nvPr/>
        </p:nvSpPr>
        <p:spPr>
          <a:xfrm>
            <a:off x="2192715" y="579461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7" name="Oval 76">
            <a:extLst>
              <a:ext uri="{FF2B5EF4-FFF2-40B4-BE49-F238E27FC236}">
                <a16:creationId xmlns:a16="http://schemas.microsoft.com/office/drawing/2014/main" id="{697235F1-2919-4144-81A2-D5AB53A688A5}"/>
              </a:ext>
            </a:extLst>
          </p:cNvPr>
          <p:cNvSpPr/>
          <p:nvPr/>
        </p:nvSpPr>
        <p:spPr>
          <a:xfrm>
            <a:off x="2316059" y="4985356"/>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pic>
        <p:nvPicPr>
          <p:cNvPr id="82" name="Graphic 81" descr="Hourglass">
            <a:extLst>
              <a:ext uri="{FF2B5EF4-FFF2-40B4-BE49-F238E27FC236}">
                <a16:creationId xmlns:a16="http://schemas.microsoft.com/office/drawing/2014/main" id="{6DC0D363-BDC1-4D78-A8E2-51F7D6A6B5E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551482" y="4339154"/>
            <a:ext cx="252240" cy="200564"/>
          </a:xfrm>
          <a:prstGeom prst="rect">
            <a:avLst/>
          </a:prstGeom>
        </p:spPr>
      </p:pic>
      <p:grpSp>
        <p:nvGrpSpPr>
          <p:cNvPr id="89" name="Group 88">
            <a:extLst>
              <a:ext uri="{FF2B5EF4-FFF2-40B4-BE49-F238E27FC236}">
                <a16:creationId xmlns:a16="http://schemas.microsoft.com/office/drawing/2014/main" id="{61A5B9A5-8BCC-40E2-90FA-F5964E0C948E}"/>
              </a:ext>
            </a:extLst>
          </p:cNvPr>
          <p:cNvGrpSpPr/>
          <p:nvPr/>
        </p:nvGrpSpPr>
        <p:grpSpPr>
          <a:xfrm>
            <a:off x="11310854" y="1814177"/>
            <a:ext cx="919671" cy="707886"/>
            <a:chOff x="1990724" y="6364860"/>
            <a:chExt cx="919671" cy="707886"/>
          </a:xfrm>
        </p:grpSpPr>
        <p:sp>
          <p:nvSpPr>
            <p:cNvPr id="90" name="Oval 89">
              <a:extLst>
                <a:ext uri="{FF2B5EF4-FFF2-40B4-BE49-F238E27FC236}">
                  <a16:creationId xmlns:a16="http://schemas.microsoft.com/office/drawing/2014/main" id="{A402DC10-9E6F-424C-9770-E914B0A77067}"/>
                </a:ext>
              </a:extLst>
            </p:cNvPr>
            <p:cNvSpPr/>
            <p:nvPr/>
          </p:nvSpPr>
          <p:spPr>
            <a:xfrm>
              <a:off x="1990724" y="640942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91" name="TextBox 90">
              <a:extLst>
                <a:ext uri="{FF2B5EF4-FFF2-40B4-BE49-F238E27FC236}">
                  <a16:creationId xmlns:a16="http://schemas.microsoft.com/office/drawing/2014/main" id="{1015DEC9-7D1C-4EBA-8BAF-759D03841070}"/>
                </a:ext>
              </a:extLst>
            </p:cNvPr>
            <p:cNvSpPr txBox="1"/>
            <p:nvPr/>
          </p:nvSpPr>
          <p:spPr>
            <a:xfrm>
              <a:off x="2095500" y="6364860"/>
              <a:ext cx="814895" cy="707886"/>
            </a:xfrm>
            <a:prstGeom prst="rect">
              <a:avLst/>
            </a:prstGeom>
            <a:noFill/>
          </p:spPr>
          <p:txBody>
            <a:bodyPr wrap="square">
              <a:spAutoFit/>
            </a:bodyPr>
            <a:lstStyle/>
            <a:p>
              <a:r>
                <a:rPr lang="en-US" sz="800"/>
                <a:t>Commercial strategy &amp; analytics to identify opportunities</a:t>
              </a:r>
            </a:p>
          </p:txBody>
        </p:sp>
      </p:grpSp>
      <p:grpSp>
        <p:nvGrpSpPr>
          <p:cNvPr id="92" name="Group 91">
            <a:extLst>
              <a:ext uri="{FF2B5EF4-FFF2-40B4-BE49-F238E27FC236}">
                <a16:creationId xmlns:a16="http://schemas.microsoft.com/office/drawing/2014/main" id="{D83C187B-DE2E-4B9C-BE46-20EFB59B3C1A}"/>
              </a:ext>
            </a:extLst>
          </p:cNvPr>
          <p:cNvGrpSpPr/>
          <p:nvPr/>
        </p:nvGrpSpPr>
        <p:grpSpPr>
          <a:xfrm>
            <a:off x="11308222" y="2506451"/>
            <a:ext cx="728924" cy="461665"/>
            <a:chOff x="4537058" y="6372401"/>
            <a:chExt cx="728924" cy="461665"/>
          </a:xfrm>
        </p:grpSpPr>
        <p:sp>
          <p:nvSpPr>
            <p:cNvPr id="93" name="Oval 92">
              <a:extLst>
                <a:ext uri="{FF2B5EF4-FFF2-40B4-BE49-F238E27FC236}">
                  <a16:creationId xmlns:a16="http://schemas.microsoft.com/office/drawing/2014/main" id="{F58DF08D-8151-4D3F-B62E-6ACF937F992F}"/>
                </a:ext>
              </a:extLst>
            </p:cNvPr>
            <p:cNvSpPr/>
            <p:nvPr/>
          </p:nvSpPr>
          <p:spPr>
            <a:xfrm>
              <a:off x="4537058"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94" name="TextBox 93">
              <a:extLst>
                <a:ext uri="{FF2B5EF4-FFF2-40B4-BE49-F238E27FC236}">
                  <a16:creationId xmlns:a16="http://schemas.microsoft.com/office/drawing/2014/main" id="{824D8844-D1B8-4F69-ADD4-10A85A7878A3}"/>
                </a:ext>
              </a:extLst>
            </p:cNvPr>
            <p:cNvSpPr txBox="1"/>
            <p:nvPr/>
          </p:nvSpPr>
          <p:spPr>
            <a:xfrm>
              <a:off x="4689458" y="6372401"/>
              <a:ext cx="576524" cy="461665"/>
            </a:xfrm>
            <a:prstGeom prst="rect">
              <a:avLst/>
            </a:prstGeom>
            <a:noFill/>
          </p:spPr>
          <p:txBody>
            <a:bodyPr wrap="square">
              <a:spAutoFit/>
            </a:bodyPr>
            <a:lstStyle>
              <a:defPPr>
                <a:defRPr lang="en-US"/>
              </a:defPPr>
              <a:lvl1pPr>
                <a:defRPr sz="1000"/>
              </a:lvl1pPr>
            </a:lstStyle>
            <a:p>
              <a:r>
                <a:rPr lang="en-US" sz="800"/>
                <a:t>Eliminate manual work</a:t>
              </a:r>
            </a:p>
          </p:txBody>
        </p:sp>
      </p:grpSp>
      <p:grpSp>
        <p:nvGrpSpPr>
          <p:cNvPr id="95" name="Group 94">
            <a:extLst>
              <a:ext uri="{FF2B5EF4-FFF2-40B4-BE49-F238E27FC236}">
                <a16:creationId xmlns:a16="http://schemas.microsoft.com/office/drawing/2014/main" id="{5845AAFA-7228-4AA1-AA47-6FD27BB55EE8}"/>
              </a:ext>
            </a:extLst>
          </p:cNvPr>
          <p:cNvGrpSpPr/>
          <p:nvPr/>
        </p:nvGrpSpPr>
        <p:grpSpPr>
          <a:xfrm>
            <a:off x="11311833" y="3008395"/>
            <a:ext cx="880167" cy="338554"/>
            <a:chOff x="7131015" y="6364313"/>
            <a:chExt cx="880167" cy="338554"/>
          </a:xfrm>
        </p:grpSpPr>
        <p:sp>
          <p:nvSpPr>
            <p:cNvPr id="96" name="Oval 95">
              <a:extLst>
                <a:ext uri="{FF2B5EF4-FFF2-40B4-BE49-F238E27FC236}">
                  <a16:creationId xmlns:a16="http://schemas.microsoft.com/office/drawing/2014/main" id="{3519C138-CA53-4CD8-A938-CF6046D02C3A}"/>
                </a:ext>
              </a:extLst>
            </p:cNvPr>
            <p:cNvSpPr/>
            <p:nvPr/>
          </p:nvSpPr>
          <p:spPr>
            <a:xfrm>
              <a:off x="7131015"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97" name="TextBox 96">
              <a:extLst>
                <a:ext uri="{FF2B5EF4-FFF2-40B4-BE49-F238E27FC236}">
                  <a16:creationId xmlns:a16="http://schemas.microsoft.com/office/drawing/2014/main" id="{38BB77C4-07FB-4A0F-8B12-D9B286FF760D}"/>
                </a:ext>
              </a:extLst>
            </p:cNvPr>
            <p:cNvSpPr txBox="1"/>
            <p:nvPr/>
          </p:nvSpPr>
          <p:spPr>
            <a:xfrm>
              <a:off x="7283415" y="6364313"/>
              <a:ext cx="727767" cy="338554"/>
            </a:xfrm>
            <a:prstGeom prst="rect">
              <a:avLst/>
            </a:prstGeom>
            <a:noFill/>
          </p:spPr>
          <p:txBody>
            <a:bodyPr wrap="square">
              <a:spAutoFit/>
            </a:bodyPr>
            <a:lstStyle>
              <a:defPPr>
                <a:defRPr lang="en-US"/>
              </a:defPPr>
              <a:lvl1pPr>
                <a:defRPr sz="1000"/>
              </a:lvl1pPr>
            </a:lstStyle>
            <a:p>
              <a:r>
                <a:rPr lang="en-US" sz="800"/>
                <a:t>Measuring success</a:t>
              </a:r>
            </a:p>
          </p:txBody>
        </p:sp>
      </p:grpSp>
      <p:sp>
        <p:nvSpPr>
          <p:cNvPr id="98" name="TextBox 97">
            <a:extLst>
              <a:ext uri="{FF2B5EF4-FFF2-40B4-BE49-F238E27FC236}">
                <a16:creationId xmlns:a16="http://schemas.microsoft.com/office/drawing/2014/main" id="{E2D32709-9182-49C7-B6EF-BADEF23ECF76}"/>
              </a:ext>
            </a:extLst>
          </p:cNvPr>
          <p:cNvSpPr txBox="1"/>
          <p:nvPr/>
        </p:nvSpPr>
        <p:spPr>
          <a:xfrm>
            <a:off x="11273267" y="1251935"/>
            <a:ext cx="814895" cy="584775"/>
          </a:xfrm>
          <a:prstGeom prst="rect">
            <a:avLst/>
          </a:prstGeom>
          <a:noFill/>
        </p:spPr>
        <p:txBody>
          <a:bodyPr wrap="square">
            <a:spAutoFit/>
          </a:bodyPr>
          <a:lstStyle/>
          <a:p>
            <a:r>
              <a:rPr kumimoji="0" lang="en-US" sz="800" b="1" i="0" u="none" strike="noStrike" kern="1200" cap="none" spc="0" normalizeH="0" baseline="0" noProof="0">
                <a:ln>
                  <a:noFill/>
                </a:ln>
                <a:solidFill>
                  <a:srgbClr val="000000"/>
                </a:solidFill>
                <a:effectLst/>
                <a:uLnTx/>
                <a:uFillTx/>
                <a:latin typeface="Calibri" panose="020F0502020204030204"/>
                <a:ea typeface="+mn-ea"/>
                <a:cs typeface="+mn-cs"/>
              </a:rPr>
              <a:t>Global research and insight strategy </a:t>
            </a:r>
            <a:endParaRPr lang="en-US" sz="800" b="1"/>
          </a:p>
        </p:txBody>
      </p:sp>
      <p:grpSp>
        <p:nvGrpSpPr>
          <p:cNvPr id="17" name="Group 16">
            <a:extLst>
              <a:ext uri="{FF2B5EF4-FFF2-40B4-BE49-F238E27FC236}">
                <a16:creationId xmlns:a16="http://schemas.microsoft.com/office/drawing/2014/main" id="{A0FA3650-5729-46FF-B345-9CCAC121A53F}"/>
              </a:ext>
            </a:extLst>
          </p:cNvPr>
          <p:cNvGrpSpPr/>
          <p:nvPr/>
        </p:nvGrpSpPr>
        <p:grpSpPr>
          <a:xfrm>
            <a:off x="11308222" y="3516110"/>
            <a:ext cx="592731" cy="153460"/>
            <a:chOff x="9165030" y="6583597"/>
            <a:chExt cx="592731" cy="153460"/>
          </a:xfrm>
        </p:grpSpPr>
        <p:sp>
          <p:nvSpPr>
            <p:cNvPr id="99" name="Oval 98">
              <a:extLst>
                <a:ext uri="{FF2B5EF4-FFF2-40B4-BE49-F238E27FC236}">
                  <a16:creationId xmlns:a16="http://schemas.microsoft.com/office/drawing/2014/main" id="{693FC048-9049-4807-845A-A38C63C00C0F}"/>
                </a:ext>
              </a:extLst>
            </p:cNvPr>
            <p:cNvSpPr/>
            <p:nvPr/>
          </p:nvSpPr>
          <p:spPr>
            <a:xfrm>
              <a:off x="9165030" y="658402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100" name="TextBox 99">
              <a:extLst>
                <a:ext uri="{FF2B5EF4-FFF2-40B4-BE49-F238E27FC236}">
                  <a16:creationId xmlns:a16="http://schemas.microsoft.com/office/drawing/2014/main" id="{8AD1A4CE-D75D-477A-B30B-BAF59F9EF594}"/>
                </a:ext>
              </a:extLst>
            </p:cNvPr>
            <p:cNvSpPr txBox="1"/>
            <p:nvPr/>
          </p:nvSpPr>
          <p:spPr>
            <a:xfrm>
              <a:off x="9374812" y="6583597"/>
              <a:ext cx="382949" cy="123111"/>
            </a:xfrm>
            <a:prstGeom prst="rect">
              <a:avLst/>
            </a:prstGeom>
          </p:spPr>
          <p:txBody>
            <a:bodyPr wrap="square" lIns="0" tIns="0" rIns="0" bIns="0" rtlCol="0" anchor="t" anchorCtr="0">
              <a:spAutoFit/>
            </a:bodyPr>
            <a:lstStyle/>
            <a:p>
              <a:r>
                <a:rPr lang="en-US" sz="800"/>
                <a:t>Other</a:t>
              </a:r>
              <a:endParaRPr lang="en-US" sz="800">
                <a:solidFill>
                  <a:schemeClr val="tx1"/>
                </a:solidFill>
              </a:endParaRPr>
            </a:p>
          </p:txBody>
        </p:sp>
      </p:grpSp>
      <p:sp>
        <p:nvSpPr>
          <p:cNvPr id="109" name="Oval 108">
            <a:extLst>
              <a:ext uri="{FF2B5EF4-FFF2-40B4-BE49-F238E27FC236}">
                <a16:creationId xmlns:a16="http://schemas.microsoft.com/office/drawing/2014/main" id="{17206696-4F7A-4DC6-B15C-73127A345BED}"/>
              </a:ext>
            </a:extLst>
          </p:cNvPr>
          <p:cNvSpPr/>
          <p:nvPr/>
        </p:nvSpPr>
        <p:spPr>
          <a:xfrm>
            <a:off x="3529162" y="5122781"/>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110" name="Oval 109">
            <a:extLst>
              <a:ext uri="{FF2B5EF4-FFF2-40B4-BE49-F238E27FC236}">
                <a16:creationId xmlns:a16="http://schemas.microsoft.com/office/drawing/2014/main" id="{A598964F-1294-4B05-9397-1C50AC075986}"/>
              </a:ext>
            </a:extLst>
          </p:cNvPr>
          <p:cNvSpPr/>
          <p:nvPr/>
        </p:nvSpPr>
        <p:spPr>
          <a:xfrm>
            <a:off x="3690408" y="5122781"/>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111" name="Oval 110">
            <a:extLst>
              <a:ext uri="{FF2B5EF4-FFF2-40B4-BE49-F238E27FC236}">
                <a16:creationId xmlns:a16="http://schemas.microsoft.com/office/drawing/2014/main" id="{8B15107E-AA1D-49A8-83BD-3EFC154D899A}"/>
              </a:ext>
            </a:extLst>
          </p:cNvPr>
          <p:cNvSpPr/>
          <p:nvPr/>
        </p:nvSpPr>
        <p:spPr>
          <a:xfrm>
            <a:off x="3851654" y="5122781"/>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112" name="Oval 111">
            <a:extLst>
              <a:ext uri="{FF2B5EF4-FFF2-40B4-BE49-F238E27FC236}">
                <a16:creationId xmlns:a16="http://schemas.microsoft.com/office/drawing/2014/main" id="{BDB11A0B-4460-4D5D-8CD8-9A85BA28ABBA}"/>
              </a:ext>
            </a:extLst>
          </p:cNvPr>
          <p:cNvSpPr/>
          <p:nvPr/>
        </p:nvSpPr>
        <p:spPr>
          <a:xfrm>
            <a:off x="3484639" y="560500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113" name="Oval 112">
            <a:extLst>
              <a:ext uri="{FF2B5EF4-FFF2-40B4-BE49-F238E27FC236}">
                <a16:creationId xmlns:a16="http://schemas.microsoft.com/office/drawing/2014/main" id="{A3BA1997-E004-443B-83F9-DC6C819FBE59}"/>
              </a:ext>
            </a:extLst>
          </p:cNvPr>
          <p:cNvSpPr/>
          <p:nvPr/>
        </p:nvSpPr>
        <p:spPr>
          <a:xfrm>
            <a:off x="3645885" y="560500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114" name="Oval 113">
            <a:extLst>
              <a:ext uri="{FF2B5EF4-FFF2-40B4-BE49-F238E27FC236}">
                <a16:creationId xmlns:a16="http://schemas.microsoft.com/office/drawing/2014/main" id="{E2EFBB54-8749-4357-A524-69857AE4190F}"/>
              </a:ext>
            </a:extLst>
          </p:cNvPr>
          <p:cNvSpPr/>
          <p:nvPr/>
        </p:nvSpPr>
        <p:spPr>
          <a:xfrm>
            <a:off x="3807131" y="560500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115" name="Oval 114">
            <a:extLst>
              <a:ext uri="{FF2B5EF4-FFF2-40B4-BE49-F238E27FC236}">
                <a16:creationId xmlns:a16="http://schemas.microsoft.com/office/drawing/2014/main" id="{CB578B3A-B0E7-4904-B026-3FEA3E2D620E}"/>
              </a:ext>
            </a:extLst>
          </p:cNvPr>
          <p:cNvSpPr/>
          <p:nvPr/>
        </p:nvSpPr>
        <p:spPr>
          <a:xfrm>
            <a:off x="3338643" y="5929966"/>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pic>
        <p:nvPicPr>
          <p:cNvPr id="118" name="Graphic 117" descr="Document">
            <a:extLst>
              <a:ext uri="{FF2B5EF4-FFF2-40B4-BE49-F238E27FC236}">
                <a16:creationId xmlns:a16="http://schemas.microsoft.com/office/drawing/2014/main" id="{070F8303-5938-4BA7-89AF-18EA4F3C4BD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41717" y="4315775"/>
            <a:ext cx="268275" cy="280553"/>
          </a:xfrm>
          <a:prstGeom prst="rect">
            <a:avLst/>
          </a:prstGeom>
        </p:spPr>
      </p:pic>
      <p:pic>
        <p:nvPicPr>
          <p:cNvPr id="119" name="Picture 118">
            <a:extLst>
              <a:ext uri="{FF2B5EF4-FFF2-40B4-BE49-F238E27FC236}">
                <a16:creationId xmlns:a16="http://schemas.microsoft.com/office/drawing/2014/main" id="{09293213-16E0-4CBA-9C6D-5EAE2CD0F843}"/>
              </a:ext>
            </a:extLst>
          </p:cNvPr>
          <p:cNvPicPr>
            <a:picLocks noChangeAspect="1"/>
          </p:cNvPicPr>
          <p:nvPr/>
        </p:nvPicPr>
        <p:blipFill>
          <a:blip r:embed="rId16"/>
          <a:stretch>
            <a:fillRect/>
          </a:stretch>
        </p:blipFill>
        <p:spPr>
          <a:xfrm>
            <a:off x="823550" y="4329944"/>
            <a:ext cx="280552" cy="242160"/>
          </a:xfrm>
          <a:prstGeom prst="rect">
            <a:avLst/>
          </a:prstGeom>
        </p:spPr>
      </p:pic>
      <p:sp>
        <p:nvSpPr>
          <p:cNvPr id="80" name="Rectangle 79">
            <a:extLst>
              <a:ext uri="{FF2B5EF4-FFF2-40B4-BE49-F238E27FC236}">
                <a16:creationId xmlns:a16="http://schemas.microsoft.com/office/drawing/2014/main" id="{D057165F-699F-4A1F-9ACF-0148D4015D01}"/>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83" name="Picture 82">
            <a:extLst>
              <a:ext uri="{FF2B5EF4-FFF2-40B4-BE49-F238E27FC236}">
                <a16:creationId xmlns:a16="http://schemas.microsoft.com/office/drawing/2014/main" id="{0278E13C-F399-40DA-8FCE-6C35C030B83C}"/>
              </a:ext>
            </a:extLst>
          </p:cNvPr>
          <p:cNvPicPr>
            <a:picLocks noChangeAspect="1"/>
          </p:cNvPicPr>
          <p:nvPr/>
        </p:nvPicPr>
        <p:blipFill>
          <a:blip r:embed="rId17"/>
          <a:stretch>
            <a:fillRect/>
          </a:stretch>
        </p:blipFill>
        <p:spPr>
          <a:xfrm>
            <a:off x="10853730" y="95819"/>
            <a:ext cx="1183416" cy="546811"/>
          </a:xfrm>
          <a:prstGeom prst="rect">
            <a:avLst/>
          </a:prstGeom>
        </p:spPr>
      </p:pic>
      <p:sp>
        <p:nvSpPr>
          <p:cNvPr id="86" name="TextBox 85">
            <a:extLst>
              <a:ext uri="{FF2B5EF4-FFF2-40B4-BE49-F238E27FC236}">
                <a16:creationId xmlns:a16="http://schemas.microsoft.com/office/drawing/2014/main" id="{DB43D21B-1028-486D-A053-87235FE74BA0}"/>
              </a:ext>
            </a:extLst>
          </p:cNvPr>
          <p:cNvSpPr txBox="1"/>
          <p:nvPr/>
        </p:nvSpPr>
        <p:spPr>
          <a:xfrm>
            <a:off x="852353" y="6537681"/>
            <a:ext cx="8460649" cy="307777"/>
          </a:xfrm>
          <a:prstGeom prst="rect">
            <a:avLst/>
          </a:prstGeom>
        </p:spPr>
        <p:txBody>
          <a:bodyPr wrap="none" lIns="0" tIns="0" rIns="0" bIns="0" rtlCol="0" anchor="t" anchorCtr="0">
            <a:spAutoFit/>
          </a:bodyPr>
          <a:lstStyle/>
          <a:p>
            <a:r>
              <a:rPr lang="en-US" sz="1000" i="1">
                <a:solidFill>
                  <a:schemeClr val="tx1"/>
                </a:solidFill>
              </a:rPr>
              <a:t>* The required budget calculated </a:t>
            </a:r>
            <a:r>
              <a:rPr lang="en-US" sz="1000" i="1"/>
              <a:t>does not take into account (where applicable) IT and licensing costs.</a:t>
            </a:r>
          </a:p>
          <a:p>
            <a:r>
              <a:rPr lang="en-US" sz="1000" i="1">
                <a:solidFill>
                  <a:schemeClr val="tx1"/>
                </a:solidFill>
              </a:rPr>
              <a:t>** The estimated effort is based on an educated guess and does not fully take into account actual timelines; more clarity will come when the roadmap is developed.</a:t>
            </a:r>
          </a:p>
        </p:txBody>
      </p:sp>
    </p:spTree>
    <p:extLst>
      <p:ext uri="{BB962C8B-B14F-4D97-AF65-F5344CB8AC3E}">
        <p14:creationId xmlns:p14="http://schemas.microsoft.com/office/powerpoint/2010/main" val="15523737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729D7266-34A0-45A7-903B-4B61643C7253}"/>
              </a:ext>
            </a:extLst>
          </p:cNvPr>
          <p:cNvSpPr/>
          <p:nvPr/>
        </p:nvSpPr>
        <p:spPr>
          <a:xfrm>
            <a:off x="9786773" y="6003644"/>
            <a:ext cx="1890877" cy="854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1"/>
            </p:custDataLst>
          </p:nvPr>
        </p:nvGraphicFramePr>
        <p:xfrm>
          <a:off x="4609" y="3400"/>
          <a:ext cx="1434" cy="1434"/>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6"/>
                      <a:stretch>
                        <a:fillRect/>
                      </a:stretch>
                    </p:blipFill>
                    <p:spPr>
                      <a:xfrm>
                        <a:off x="4609" y="3400"/>
                        <a:ext cx="1434" cy="143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2"/>
            </p:custDataLst>
          </p:nvPr>
        </p:nvSpPr>
        <p:spPr bwMode="auto">
          <a:xfrm>
            <a:off x="3175" y="1966"/>
            <a:ext cx="143360" cy="143360"/>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365" rtl="0" eaLnBrk="1" fontAlgn="base" latinLnBrk="0" hangingPunct="1">
              <a:lnSpc>
                <a:spcPct val="100000"/>
              </a:lnSpc>
              <a:spcBef>
                <a:spcPct val="0"/>
              </a:spcBef>
              <a:spcAft>
                <a:spcPct val="0"/>
              </a:spcAft>
              <a:buClrTx/>
              <a:buSzTx/>
              <a:buFontTx/>
              <a:buNone/>
              <a:tabLst/>
              <a:defRPr/>
            </a:pPr>
            <a:endParaRPr kumimoji="0" lang="en-US" sz="1624"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sp>
        <p:nvSpPr>
          <p:cNvPr id="151" name="Rounded Rectangle 150">
            <a:extLst>
              <a:ext uri="{FF2B5EF4-FFF2-40B4-BE49-F238E27FC236}">
                <a16:creationId xmlns:a16="http://schemas.microsoft.com/office/drawing/2014/main" id="{E17DA885-D864-41B9-9A66-9C1A25408257}"/>
              </a:ext>
            </a:extLst>
          </p:cNvPr>
          <p:cNvSpPr/>
          <p:nvPr/>
        </p:nvSpPr>
        <p:spPr>
          <a:xfrm>
            <a:off x="1948760" y="1247486"/>
            <a:ext cx="3886597" cy="792755"/>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5747"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Align governance and supporting processes with security, privacy, compliance, legal and risk framework</a:t>
            </a:r>
          </a:p>
        </p:txBody>
      </p:sp>
      <p:sp>
        <p:nvSpPr>
          <p:cNvPr id="155" name="Rectangle 154">
            <a:extLst>
              <a:ext uri="{FF2B5EF4-FFF2-40B4-BE49-F238E27FC236}">
                <a16:creationId xmlns:a16="http://schemas.microsoft.com/office/drawing/2014/main" id="{99A622E7-7953-4F9A-BDBA-83764677A3CA}"/>
              </a:ext>
            </a:extLst>
          </p:cNvPr>
          <p:cNvSpPr/>
          <p:nvPr/>
        </p:nvSpPr>
        <p:spPr>
          <a:xfrm>
            <a:off x="611291" y="1250679"/>
            <a:ext cx="1176951" cy="789561"/>
          </a:xfrm>
          <a:prstGeom prst="rect">
            <a:avLst/>
          </a:prstGeom>
          <a:solidFill>
            <a:schemeClr val="tx2"/>
          </a:solidFill>
          <a:ln w="9525" cap="flat" cmpd="sng" algn="ctr">
            <a:solidFill>
              <a:schemeClr val="accent1"/>
            </a:solidFill>
            <a:prstDash val="solid"/>
          </a:ln>
          <a:effectLst/>
        </p:spPr>
        <p:txBody>
          <a:bodyPr lIns="65020" tIns="65020" rIns="65020" bIns="65020" rtlCol="0" anchor="ctr" anchorCtr="0"/>
          <a:lstStyle/>
          <a:p>
            <a:pPr marL="0" marR="0" lvl="0" indent="0" algn="ctr" defTabSz="913388" rtl="0" eaLnBrk="1" fontAlgn="auto" latinLnBrk="0" hangingPunct="1">
              <a:lnSpc>
                <a:spcPct val="100000"/>
              </a:lnSpc>
              <a:spcBef>
                <a:spcPts val="0"/>
              </a:spcBef>
              <a:spcAft>
                <a:spcPts val="0"/>
              </a:spcAft>
              <a:buClrTx/>
              <a:buSzTx/>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Aligning governance and support processes</a:t>
            </a:r>
          </a:p>
        </p:txBody>
      </p:sp>
      <p:cxnSp>
        <p:nvCxnSpPr>
          <p:cNvPr id="156" name="Straight Connector 155">
            <a:extLst>
              <a:ext uri="{FF2B5EF4-FFF2-40B4-BE49-F238E27FC236}">
                <a16:creationId xmlns:a16="http://schemas.microsoft.com/office/drawing/2014/main" id="{089F8C67-8227-42C1-9C7A-016071E3FB03}"/>
              </a:ext>
            </a:extLst>
          </p:cNvPr>
          <p:cNvCxnSpPr>
            <a:cxnSpLocks/>
            <a:stCxn id="155" idx="3"/>
            <a:endCxn id="151" idx="1"/>
          </p:cNvCxnSpPr>
          <p:nvPr/>
        </p:nvCxnSpPr>
        <p:spPr>
          <a:xfrm flipV="1">
            <a:off x="1788242" y="1643864"/>
            <a:ext cx="160518" cy="1596"/>
          </a:xfrm>
          <a:prstGeom prst="line">
            <a:avLst/>
          </a:prstGeom>
          <a:noFill/>
          <a:ln w="76200" cap="flat" cmpd="sng" algn="ctr">
            <a:solidFill>
              <a:schemeClr val="tx2"/>
            </a:solidFill>
            <a:prstDash val="solid"/>
          </a:ln>
          <a:effectLst/>
        </p:spPr>
      </p:cxnSp>
      <p:sp>
        <p:nvSpPr>
          <p:cNvPr id="238" name="Round Same Side Corner Rectangle 24">
            <a:extLst>
              <a:ext uri="{FF2B5EF4-FFF2-40B4-BE49-F238E27FC236}">
                <a16:creationId xmlns:a16="http://schemas.microsoft.com/office/drawing/2014/main" id="{1C3FD96F-930D-4DCE-98F3-A5213983C662}"/>
              </a:ext>
            </a:extLst>
          </p:cNvPr>
          <p:cNvSpPr>
            <a:spLocks/>
          </p:cNvSpPr>
          <p:nvPr/>
        </p:nvSpPr>
        <p:spPr bwMode="gray">
          <a:xfrm>
            <a:off x="619503" y="3297003"/>
            <a:ext cx="5217770" cy="279708"/>
          </a:xfrm>
          <a:prstGeom prst="round2SameRect">
            <a:avLst/>
          </a:prstGeom>
          <a:solidFill>
            <a:schemeClr val="tx2"/>
          </a:solidFill>
          <a:ln w="19050" cap="flat" cmpd="sng" algn="ctr">
            <a:solidFill>
              <a:schemeClr val="tx2"/>
            </a:solidFill>
            <a:prstDash val="solid"/>
          </a:ln>
          <a:effectLst/>
        </p:spPr>
        <p:txBody>
          <a:bodyPr lIns="65020" tIns="32510" rIns="32510" bIns="32510" rtlCol="0" anchor="t">
            <a:noAutofit/>
          </a:bodyPr>
          <a:lstStyle/>
          <a:p>
            <a:pPr marL="0" marR="0" lvl="1" indent="0" algn="l" defTabSz="897313" rtl="0" eaLnBrk="1" fontAlgn="auto" latinLnBrk="0" hangingPunct="1">
              <a:lnSpc>
                <a:spcPct val="100000"/>
              </a:lnSpc>
              <a:spcBef>
                <a:spcPts val="0"/>
              </a:spcBef>
              <a:spcAft>
                <a:spcPts val="90"/>
              </a:spcAft>
              <a:buClrTx/>
              <a:buSzPct val="70000"/>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Effort level*</a:t>
            </a:r>
          </a:p>
        </p:txBody>
      </p:sp>
      <p:sp>
        <p:nvSpPr>
          <p:cNvPr id="240" name="Rectangle 239">
            <a:extLst>
              <a:ext uri="{FF2B5EF4-FFF2-40B4-BE49-F238E27FC236}">
                <a16:creationId xmlns:a16="http://schemas.microsoft.com/office/drawing/2014/main" id="{AE145C0D-923D-4C8A-9CA3-EF5A2C698466}"/>
              </a:ext>
            </a:extLst>
          </p:cNvPr>
          <p:cNvSpPr>
            <a:spLocks/>
          </p:cNvSpPr>
          <p:nvPr/>
        </p:nvSpPr>
        <p:spPr bwMode="gray">
          <a:xfrm>
            <a:off x="659029" y="4552138"/>
            <a:ext cx="5217770" cy="2003732"/>
          </a:xfrm>
          <a:prstGeom prst="rect">
            <a:avLst/>
          </a:prstGeom>
          <a:solidFill>
            <a:srgbClr val="FFFFFF"/>
          </a:solidFill>
          <a:ln w="3175">
            <a:noFill/>
          </a:ln>
        </p:spPr>
        <p:txBody>
          <a:bodyPr wrap="square" lIns="65020" tIns="65020" rIns="65020" bIns="65020">
            <a:noAutofit/>
          </a:bodyPr>
          <a:lstStyle/>
          <a:p>
            <a:pPr marL="0" marR="0" lvl="0" indent="0" algn="l" defTabSz="825747"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437" marR="0" lvl="0" indent="-206437" algn="l" defTabSz="825747"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241" name="Round Same Side Corner Rectangle 24">
            <a:extLst>
              <a:ext uri="{FF2B5EF4-FFF2-40B4-BE49-F238E27FC236}">
                <a16:creationId xmlns:a16="http://schemas.microsoft.com/office/drawing/2014/main" id="{906A34BC-A5AE-470C-BF2D-BE35E81C422A}"/>
              </a:ext>
            </a:extLst>
          </p:cNvPr>
          <p:cNvSpPr>
            <a:spLocks/>
          </p:cNvSpPr>
          <p:nvPr/>
        </p:nvSpPr>
        <p:spPr bwMode="gray">
          <a:xfrm>
            <a:off x="630942" y="4431899"/>
            <a:ext cx="5217770" cy="279708"/>
          </a:xfrm>
          <a:prstGeom prst="round2SameRect">
            <a:avLst/>
          </a:prstGeom>
          <a:solidFill>
            <a:schemeClr val="tx2"/>
          </a:solidFill>
          <a:ln w="19050" cap="flat" cmpd="sng" algn="ctr">
            <a:solidFill>
              <a:schemeClr val="tx2"/>
            </a:solidFill>
            <a:prstDash val="solid"/>
          </a:ln>
          <a:effectLst/>
        </p:spPr>
        <p:txBody>
          <a:bodyPr lIns="65020" tIns="32510" rIns="32510" bIns="32510" rtlCol="0" anchor="t">
            <a:noAutofit/>
          </a:bodyPr>
          <a:lstStyle/>
          <a:p>
            <a:pPr marL="0" marR="0" lvl="1" indent="0" algn="l" defTabSz="897313" rtl="0" eaLnBrk="1" fontAlgn="auto" latinLnBrk="0" hangingPunct="1">
              <a:lnSpc>
                <a:spcPct val="100000"/>
              </a:lnSpc>
              <a:spcBef>
                <a:spcPts val="0"/>
              </a:spcBef>
              <a:spcAft>
                <a:spcPts val="90"/>
              </a:spcAft>
              <a:buClrTx/>
              <a:buSzPct val="70000"/>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3" name="Group 2">
            <a:extLst>
              <a:ext uri="{FF2B5EF4-FFF2-40B4-BE49-F238E27FC236}">
                <a16:creationId xmlns:a16="http://schemas.microsoft.com/office/drawing/2014/main" id="{53110A58-D7FD-4FD8-993E-A02B19DD39D5}"/>
              </a:ext>
            </a:extLst>
          </p:cNvPr>
          <p:cNvGrpSpPr/>
          <p:nvPr/>
        </p:nvGrpSpPr>
        <p:grpSpPr>
          <a:xfrm>
            <a:off x="1868967" y="4758604"/>
            <a:ext cx="2548547" cy="1937557"/>
            <a:chOff x="12687534" y="4543604"/>
            <a:chExt cx="2549874" cy="1938566"/>
          </a:xfrm>
        </p:grpSpPr>
        <p:sp>
          <p:nvSpPr>
            <p:cNvPr id="154" name="Rectangle 153">
              <a:extLst>
                <a:ext uri="{FF2B5EF4-FFF2-40B4-BE49-F238E27FC236}">
                  <a16:creationId xmlns:a16="http://schemas.microsoft.com/office/drawing/2014/main" id="{0C24D6FD-B372-4158-A1DC-BA85B62FF792}"/>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20" tIns="65020" rIns="65020" bIns="65020">
              <a:noAutofit/>
            </a:bodyPr>
            <a:lstStyle/>
            <a:p>
              <a:pPr marL="206437" marR="0" lvl="0" indent="-206437" algn="l" defTabSz="825747"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437" marR="0" lvl="0" indent="-206437" algn="l" defTabSz="825747"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81" name="Straight Connector 180">
              <a:extLst>
                <a:ext uri="{FF2B5EF4-FFF2-40B4-BE49-F238E27FC236}">
                  <a16:creationId xmlns:a16="http://schemas.microsoft.com/office/drawing/2014/main" id="{C0592825-A5A1-476C-9573-4FFDF74C524A}"/>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82" name="Straight Connector 181">
              <a:extLst>
                <a:ext uri="{FF2B5EF4-FFF2-40B4-BE49-F238E27FC236}">
                  <a16:creationId xmlns:a16="http://schemas.microsoft.com/office/drawing/2014/main" id="{1A8390A6-9ED5-4BD4-BD44-06CDC90FC296}"/>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83" name="Straight Connector 182">
              <a:extLst>
                <a:ext uri="{FF2B5EF4-FFF2-40B4-BE49-F238E27FC236}">
                  <a16:creationId xmlns:a16="http://schemas.microsoft.com/office/drawing/2014/main" id="{38722D98-9BC5-41A1-8A2B-4E286C4D967E}"/>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84" name="Straight Connector 183">
              <a:extLst>
                <a:ext uri="{FF2B5EF4-FFF2-40B4-BE49-F238E27FC236}">
                  <a16:creationId xmlns:a16="http://schemas.microsoft.com/office/drawing/2014/main" id="{3BECF907-3CF4-4B25-AA94-9A9A2F3961A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92" name="Straight Arrow Connector 191">
              <a:extLst>
                <a:ext uri="{FF2B5EF4-FFF2-40B4-BE49-F238E27FC236}">
                  <a16:creationId xmlns:a16="http://schemas.microsoft.com/office/drawing/2014/main" id="{3CDBB80C-E57A-478C-9984-0B2E7373A007}"/>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93" name="Straight Arrow Connector 192">
              <a:extLst>
                <a:ext uri="{FF2B5EF4-FFF2-40B4-BE49-F238E27FC236}">
                  <a16:creationId xmlns:a16="http://schemas.microsoft.com/office/drawing/2014/main" id="{8DC67D23-1B3E-4B6B-A47F-7E7561357191}"/>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94" name="TextBox 193">
              <a:extLst>
                <a:ext uri="{FF2B5EF4-FFF2-40B4-BE49-F238E27FC236}">
                  <a16:creationId xmlns:a16="http://schemas.microsoft.com/office/drawing/2014/main" id="{D8875C31-66A0-47E4-B473-05E693070C92}"/>
                </a:ext>
              </a:extLst>
            </p:cNvPr>
            <p:cNvSpPr txBox="1"/>
            <p:nvPr/>
          </p:nvSpPr>
          <p:spPr>
            <a:xfrm>
              <a:off x="13270056" y="6054218"/>
              <a:ext cx="1798714"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1" i="0" u="none" strike="noStrike" kern="1200" cap="none" spc="0" normalizeH="0" baseline="0" noProof="0">
                  <a:ln>
                    <a:noFill/>
                  </a:ln>
                  <a:solidFill>
                    <a:srgbClr val="2E2E38"/>
                  </a:solidFill>
                  <a:effectLst/>
                  <a:uLnTx/>
                  <a:uFillTx/>
                  <a:latin typeface="Calibri" panose="020F0502020204030204"/>
                  <a:ea typeface="+mn-ea"/>
                  <a:cs typeface="+mn-cs"/>
                </a:rPr>
                <a:t>Effort level</a:t>
              </a:r>
            </a:p>
          </p:txBody>
        </p:sp>
        <p:sp>
          <p:nvSpPr>
            <p:cNvPr id="195" name="TextBox 194">
              <a:extLst>
                <a:ext uri="{FF2B5EF4-FFF2-40B4-BE49-F238E27FC236}">
                  <a16:creationId xmlns:a16="http://schemas.microsoft.com/office/drawing/2014/main" id="{AEF94116-F890-49D5-BFE1-54599BD88AAC}"/>
                </a:ext>
              </a:extLst>
            </p:cNvPr>
            <p:cNvSpPr txBox="1"/>
            <p:nvPr/>
          </p:nvSpPr>
          <p:spPr>
            <a:xfrm rot="16200000">
              <a:off x="12288481" y="5133476"/>
              <a:ext cx="1333177"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99" name="TextBox 198">
              <a:extLst>
                <a:ext uri="{FF2B5EF4-FFF2-40B4-BE49-F238E27FC236}">
                  <a16:creationId xmlns:a16="http://schemas.microsoft.com/office/drawing/2014/main" id="{5D4D4C80-D48D-416A-B78C-31599B92E7CF}"/>
                </a:ext>
              </a:extLst>
            </p:cNvPr>
            <p:cNvSpPr txBox="1"/>
            <p:nvPr/>
          </p:nvSpPr>
          <p:spPr>
            <a:xfrm>
              <a:off x="13070774" y="5569770"/>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0" name="TextBox 199">
              <a:extLst>
                <a:ext uri="{FF2B5EF4-FFF2-40B4-BE49-F238E27FC236}">
                  <a16:creationId xmlns:a16="http://schemas.microsoft.com/office/drawing/2014/main" id="{F4B86CB4-C16E-4952-9061-EC934214EBA9}"/>
                </a:ext>
              </a:extLst>
            </p:cNvPr>
            <p:cNvSpPr txBox="1"/>
            <p:nvPr/>
          </p:nvSpPr>
          <p:spPr>
            <a:xfrm>
              <a:off x="13070774" y="5118658"/>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1" name="TextBox 200">
              <a:extLst>
                <a:ext uri="{FF2B5EF4-FFF2-40B4-BE49-F238E27FC236}">
                  <a16:creationId xmlns:a16="http://schemas.microsoft.com/office/drawing/2014/main" id="{FC25420A-B36E-43FE-9144-7A14BD2C97A6}"/>
                </a:ext>
              </a:extLst>
            </p:cNvPr>
            <p:cNvSpPr txBox="1"/>
            <p:nvPr/>
          </p:nvSpPr>
          <p:spPr>
            <a:xfrm>
              <a:off x="13070774" y="4684190"/>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205" name="TextBox 204">
              <a:extLst>
                <a:ext uri="{FF2B5EF4-FFF2-40B4-BE49-F238E27FC236}">
                  <a16:creationId xmlns:a16="http://schemas.microsoft.com/office/drawing/2014/main" id="{63964CAF-A6BC-4CB5-AEFE-4CDA1983588F}"/>
                </a:ext>
              </a:extLst>
            </p:cNvPr>
            <p:cNvSpPr txBox="1"/>
            <p:nvPr/>
          </p:nvSpPr>
          <p:spPr>
            <a:xfrm>
              <a:off x="13430519" y="5891712"/>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6" name="TextBox 205">
              <a:extLst>
                <a:ext uri="{FF2B5EF4-FFF2-40B4-BE49-F238E27FC236}">
                  <a16:creationId xmlns:a16="http://schemas.microsoft.com/office/drawing/2014/main" id="{5E87349D-9373-4DEB-AD8D-29C1E2035CF6}"/>
                </a:ext>
              </a:extLst>
            </p:cNvPr>
            <p:cNvSpPr txBox="1"/>
            <p:nvPr/>
          </p:nvSpPr>
          <p:spPr>
            <a:xfrm>
              <a:off x="14007050" y="5891712"/>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7" name="TextBox 206">
              <a:extLst>
                <a:ext uri="{FF2B5EF4-FFF2-40B4-BE49-F238E27FC236}">
                  <a16:creationId xmlns:a16="http://schemas.microsoft.com/office/drawing/2014/main" id="{92520F1A-555B-4E6A-9FE9-5FEC4F2B25E4}"/>
                </a:ext>
              </a:extLst>
            </p:cNvPr>
            <p:cNvSpPr txBox="1"/>
            <p:nvPr/>
          </p:nvSpPr>
          <p:spPr>
            <a:xfrm>
              <a:off x="14583578" y="5891712"/>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94" name="Rectangle 93">
            <a:extLst>
              <a:ext uri="{FF2B5EF4-FFF2-40B4-BE49-F238E27FC236}">
                <a16:creationId xmlns:a16="http://schemas.microsoft.com/office/drawing/2014/main" id="{4468A3D8-52AF-465D-B6D3-F79ECB5FF525}"/>
              </a:ext>
            </a:extLst>
          </p:cNvPr>
          <p:cNvSpPr>
            <a:spLocks/>
          </p:cNvSpPr>
          <p:nvPr/>
        </p:nvSpPr>
        <p:spPr bwMode="gray">
          <a:xfrm>
            <a:off x="6245455" y="4574168"/>
            <a:ext cx="5217770" cy="2003732"/>
          </a:xfrm>
          <a:prstGeom prst="rect">
            <a:avLst/>
          </a:prstGeom>
          <a:noFill/>
          <a:ln w="3175">
            <a:noFill/>
          </a:ln>
        </p:spPr>
        <p:txBody>
          <a:bodyPr wrap="square" lIns="65020" tIns="65020" rIns="65020" bIns="65020">
            <a:noAutofit/>
          </a:bodyPr>
          <a:lstStyle/>
          <a:p>
            <a:pPr marL="0" marR="0" lvl="0" indent="0" algn="l" defTabSz="825747"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437" marR="0" lvl="0" indent="-206437" algn="l" defTabSz="825747"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95" name="Round Same Side Corner Rectangle 24">
            <a:extLst>
              <a:ext uri="{FF2B5EF4-FFF2-40B4-BE49-F238E27FC236}">
                <a16:creationId xmlns:a16="http://schemas.microsoft.com/office/drawing/2014/main" id="{A94FDBBF-F202-4FBD-B852-DACB6771B663}"/>
              </a:ext>
            </a:extLst>
          </p:cNvPr>
          <p:cNvSpPr>
            <a:spLocks/>
          </p:cNvSpPr>
          <p:nvPr/>
        </p:nvSpPr>
        <p:spPr bwMode="gray">
          <a:xfrm>
            <a:off x="6245454" y="4441424"/>
            <a:ext cx="5217770" cy="279708"/>
          </a:xfrm>
          <a:prstGeom prst="round2SameRect">
            <a:avLst/>
          </a:prstGeom>
          <a:solidFill>
            <a:schemeClr val="tx2"/>
          </a:solidFill>
          <a:ln w="19050" cap="flat" cmpd="sng" algn="ctr">
            <a:solidFill>
              <a:schemeClr val="tx2"/>
            </a:solidFill>
            <a:prstDash val="solid"/>
          </a:ln>
          <a:effectLst/>
        </p:spPr>
        <p:txBody>
          <a:bodyPr lIns="65020" tIns="32510" rIns="32510" bIns="32510" rtlCol="0" anchor="t">
            <a:noAutofit/>
          </a:bodyPr>
          <a:lstStyle/>
          <a:p>
            <a:pPr marL="0" marR="0" lvl="1" indent="0" algn="l" defTabSz="897313" rtl="0" eaLnBrk="1" fontAlgn="auto" latinLnBrk="0" hangingPunct="1">
              <a:lnSpc>
                <a:spcPct val="100000"/>
              </a:lnSpc>
              <a:spcBef>
                <a:spcPts val="0"/>
              </a:spcBef>
              <a:spcAft>
                <a:spcPts val="90"/>
              </a:spcAft>
              <a:buClrTx/>
              <a:buSzPct val="70000"/>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7" name="Group 6">
            <a:extLst>
              <a:ext uri="{FF2B5EF4-FFF2-40B4-BE49-F238E27FC236}">
                <a16:creationId xmlns:a16="http://schemas.microsoft.com/office/drawing/2014/main" id="{F7B622D3-1C0D-4604-9E7D-C0FDAABF00FB}"/>
              </a:ext>
            </a:extLst>
          </p:cNvPr>
          <p:cNvGrpSpPr/>
          <p:nvPr/>
        </p:nvGrpSpPr>
        <p:grpSpPr>
          <a:xfrm>
            <a:off x="1948760" y="2123762"/>
            <a:ext cx="3888527" cy="1132644"/>
            <a:chOff x="622344" y="1751542"/>
            <a:chExt cx="5212877" cy="1133234"/>
          </a:xfrm>
        </p:grpSpPr>
        <p:sp>
          <p:nvSpPr>
            <p:cNvPr id="159" name="Rectangle 158">
              <a:extLst>
                <a:ext uri="{FF2B5EF4-FFF2-40B4-BE49-F238E27FC236}">
                  <a16:creationId xmlns:a16="http://schemas.microsoft.com/office/drawing/2014/main" id="{8F5EB3F3-E9C0-4715-BF38-3580849B375D}"/>
                </a:ext>
              </a:extLst>
            </p:cNvPr>
            <p:cNvSpPr>
              <a:spLocks/>
            </p:cNvSpPr>
            <p:nvPr/>
          </p:nvSpPr>
          <p:spPr bwMode="gray">
            <a:xfrm>
              <a:off x="622345" y="2036755"/>
              <a:ext cx="5212876" cy="759067"/>
            </a:xfrm>
            <a:prstGeom prst="rect">
              <a:avLst/>
            </a:prstGeom>
            <a:solidFill>
              <a:srgbClr val="FFFFFF"/>
            </a:solidFill>
            <a:ln w="3175">
              <a:noFill/>
            </a:ln>
          </p:spPr>
          <p:txBody>
            <a:bodyPr wrap="square" lIns="65020" tIns="65020" rIns="65020" bIns="65020">
              <a:noAutofit/>
            </a:bodyPr>
            <a:lstStyle/>
            <a:p>
              <a:pPr marL="0" marR="0" lvl="0" indent="0" algn="l" defTabSz="825747"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60" name="Round Same Side Corner Rectangle 24">
              <a:extLst>
                <a:ext uri="{FF2B5EF4-FFF2-40B4-BE49-F238E27FC236}">
                  <a16:creationId xmlns:a16="http://schemas.microsoft.com/office/drawing/2014/main" id="{0EBC60FF-D14D-4913-91BE-B0527D010B0E}"/>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20" tIns="32510" rIns="32510" bIns="32510" rtlCol="0" anchor="t">
              <a:noAutofit/>
            </a:bodyPr>
            <a:lstStyle/>
            <a:p>
              <a:pPr marL="0" marR="0" lvl="1" indent="0" algn="l" defTabSz="897313" rtl="0" eaLnBrk="1" fontAlgn="auto" latinLnBrk="0" hangingPunct="1">
                <a:lnSpc>
                  <a:spcPct val="100000"/>
                </a:lnSpc>
                <a:spcBef>
                  <a:spcPts val="0"/>
                </a:spcBef>
                <a:spcAft>
                  <a:spcPts val="90"/>
                </a:spcAft>
                <a:buClrTx/>
                <a:buSzPct val="70000"/>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5" name="TextBox 4">
              <a:extLst>
                <a:ext uri="{FF2B5EF4-FFF2-40B4-BE49-F238E27FC236}">
                  <a16:creationId xmlns:a16="http://schemas.microsoft.com/office/drawing/2014/main" id="{5E6CEF4C-B839-4D27-937A-19706289E313}"/>
                </a:ext>
              </a:extLst>
            </p:cNvPr>
            <p:cNvSpPr txBox="1"/>
            <p:nvPr/>
          </p:nvSpPr>
          <p:spPr>
            <a:xfrm>
              <a:off x="650687" y="2030251"/>
              <a:ext cx="2895653" cy="854525"/>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and departments are impacted</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Minimizing data risks and possible fines by aligning regulatory data requirements from different angles</a:t>
              </a:r>
            </a:p>
          </p:txBody>
        </p:sp>
        <p:sp>
          <p:nvSpPr>
            <p:cNvPr id="130" name="TextBox 129">
              <a:extLst>
                <a:ext uri="{FF2B5EF4-FFF2-40B4-BE49-F238E27FC236}">
                  <a16:creationId xmlns:a16="http://schemas.microsoft.com/office/drawing/2014/main" id="{26DA1BAD-7B43-4991-ABCC-2D06DDFE899D}"/>
                </a:ext>
              </a:extLst>
            </p:cNvPr>
            <p:cNvSpPr txBox="1"/>
            <p:nvPr/>
          </p:nvSpPr>
          <p:spPr>
            <a:xfrm>
              <a:off x="3376311" y="2030251"/>
              <a:ext cx="2321064" cy="549381"/>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s in compliance, security and privacy</a:t>
              </a:r>
            </a:p>
          </p:txBody>
        </p:sp>
      </p:grpSp>
      <p:sp>
        <p:nvSpPr>
          <p:cNvPr id="135" name="TextBox 134">
            <a:extLst>
              <a:ext uri="{FF2B5EF4-FFF2-40B4-BE49-F238E27FC236}">
                <a16:creationId xmlns:a16="http://schemas.microsoft.com/office/drawing/2014/main" id="{9146C970-D1EE-4045-8E28-6E7CB87E663E}"/>
              </a:ext>
            </a:extLst>
          </p:cNvPr>
          <p:cNvSpPr txBox="1"/>
          <p:nvPr/>
        </p:nvSpPr>
        <p:spPr>
          <a:xfrm>
            <a:off x="653521" y="3586390"/>
            <a:ext cx="2623079" cy="853635"/>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Build collaboration between supporting/ controlling data functions with team leads</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Embed defined data management artifacts into the other processes</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Organize ongoing alignment between functions</a:t>
            </a:r>
          </a:p>
        </p:txBody>
      </p:sp>
      <p:sp>
        <p:nvSpPr>
          <p:cNvPr id="136" name="TextBox 135">
            <a:extLst>
              <a:ext uri="{FF2B5EF4-FFF2-40B4-BE49-F238E27FC236}">
                <a16:creationId xmlns:a16="http://schemas.microsoft.com/office/drawing/2014/main" id="{937EF19C-CD2E-43F7-AADA-C1D846ABF673}"/>
              </a:ext>
            </a:extLst>
          </p:cNvPr>
          <p:cNvSpPr txBox="1"/>
          <p:nvPr/>
        </p:nvSpPr>
        <p:spPr>
          <a:xfrm>
            <a:off x="3276600" y="3586391"/>
            <a:ext cx="2558757" cy="854080"/>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ignment between team leads needs limited resources </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1 DM specialist, 1 security specialist, 1 privacy specialist, 1 legal compliance specialist all working 20 hours/week</a:t>
            </a:r>
          </a:p>
        </p:txBody>
      </p:sp>
      <p:sp>
        <p:nvSpPr>
          <p:cNvPr id="6" name="Rectangle 5">
            <a:extLst>
              <a:ext uri="{FF2B5EF4-FFF2-40B4-BE49-F238E27FC236}">
                <a16:creationId xmlns:a16="http://schemas.microsoft.com/office/drawing/2014/main" id="{07A47E1E-FBDC-4685-A3A0-DB71DBED56CD}"/>
              </a:ext>
            </a:extLst>
          </p:cNvPr>
          <p:cNvSpPr/>
          <p:nvPr/>
        </p:nvSpPr>
        <p:spPr>
          <a:xfrm>
            <a:off x="2546826" y="4849919"/>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C975F1BB-5460-4AC5-8B50-A125A8E01CF9}"/>
              </a:ext>
            </a:extLst>
          </p:cNvPr>
          <p:cNvSpPr/>
          <p:nvPr/>
        </p:nvSpPr>
        <p:spPr>
          <a:xfrm>
            <a:off x="3093999" y="485140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13660265-D0E1-4849-A01C-FB9E845F9E5C}"/>
              </a:ext>
            </a:extLst>
          </p:cNvPr>
          <p:cNvSpPr/>
          <p:nvPr/>
        </p:nvSpPr>
        <p:spPr>
          <a:xfrm>
            <a:off x="3645607" y="4852876"/>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4" name="Rectangle 73">
            <a:extLst>
              <a:ext uri="{FF2B5EF4-FFF2-40B4-BE49-F238E27FC236}">
                <a16:creationId xmlns:a16="http://schemas.microsoft.com/office/drawing/2014/main" id="{147A0E2E-B9EF-416F-8E01-B6B6A2BE56C8}"/>
              </a:ext>
            </a:extLst>
          </p:cNvPr>
          <p:cNvSpPr/>
          <p:nvPr/>
        </p:nvSpPr>
        <p:spPr>
          <a:xfrm>
            <a:off x="2546826" y="5283218"/>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5" name="Rectangle 74">
            <a:extLst>
              <a:ext uri="{FF2B5EF4-FFF2-40B4-BE49-F238E27FC236}">
                <a16:creationId xmlns:a16="http://schemas.microsoft.com/office/drawing/2014/main" id="{B90A583F-8D96-4A22-A61B-1B0182C5B7E5}"/>
              </a:ext>
            </a:extLst>
          </p:cNvPr>
          <p:cNvSpPr/>
          <p:nvPr/>
        </p:nvSpPr>
        <p:spPr>
          <a:xfrm>
            <a:off x="3093999" y="5283218"/>
            <a:ext cx="499077" cy="387899"/>
          </a:xfrm>
          <a:prstGeom prst="rect">
            <a:avLst/>
          </a:prstGeom>
          <a:solidFill>
            <a:schemeClr val="accent2"/>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A60BDD15-A837-42F3-95C7-29F09DE6D9B0}"/>
              </a:ext>
            </a:extLst>
          </p:cNvPr>
          <p:cNvSpPr/>
          <p:nvPr/>
        </p:nvSpPr>
        <p:spPr>
          <a:xfrm>
            <a:off x="3645607" y="5283218"/>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A7D1D6CA-FA9D-40FC-AAD3-B96C51B32D7D}"/>
              </a:ext>
            </a:extLst>
          </p:cNvPr>
          <p:cNvSpPr/>
          <p:nvPr/>
        </p:nvSpPr>
        <p:spPr>
          <a:xfrm>
            <a:off x="2546826" y="5692859"/>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8" name="Rectangle 77">
            <a:extLst>
              <a:ext uri="{FF2B5EF4-FFF2-40B4-BE49-F238E27FC236}">
                <a16:creationId xmlns:a16="http://schemas.microsoft.com/office/drawing/2014/main" id="{AA68CEC8-69D7-465E-B6AB-77C7C8105782}"/>
              </a:ext>
            </a:extLst>
          </p:cNvPr>
          <p:cNvSpPr/>
          <p:nvPr/>
        </p:nvSpPr>
        <p:spPr>
          <a:xfrm>
            <a:off x="3093999" y="5692859"/>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9" name="Rectangle 78">
            <a:extLst>
              <a:ext uri="{FF2B5EF4-FFF2-40B4-BE49-F238E27FC236}">
                <a16:creationId xmlns:a16="http://schemas.microsoft.com/office/drawing/2014/main" id="{D06F1782-1563-4F79-BA5C-D84134A9020B}"/>
              </a:ext>
            </a:extLst>
          </p:cNvPr>
          <p:cNvSpPr/>
          <p:nvPr/>
        </p:nvSpPr>
        <p:spPr>
          <a:xfrm>
            <a:off x="3645607" y="5692859"/>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99" name="Title 5">
            <a:extLst>
              <a:ext uri="{FF2B5EF4-FFF2-40B4-BE49-F238E27FC236}">
                <a16:creationId xmlns:a16="http://schemas.microsoft.com/office/drawing/2014/main" id="{D4BD80A2-2B39-4D6F-A68C-4E63F7CDD251}"/>
              </a:ext>
            </a:extLst>
          </p:cNvPr>
          <p:cNvSpPr txBox="1">
            <a:spLocks/>
          </p:cNvSpPr>
          <p:nvPr/>
        </p:nvSpPr>
        <p:spPr>
          <a:xfrm>
            <a:off x="591685" y="223620"/>
            <a:ext cx="10963385" cy="467650"/>
          </a:xfrm>
          <a:prstGeom prst="rect">
            <a:avLst/>
          </a:prstGeom>
        </p:spPr>
        <p:txBody>
          <a:bodyPr lIns="0" tIns="0" rIns="0" bIns="71963"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486" rtl="0" eaLnBrk="1" fontAlgn="auto" latinLnBrk="0" hangingPunct="1">
              <a:lnSpc>
                <a:spcPct val="90000"/>
              </a:lnSpc>
              <a:spcBef>
                <a:spcPct val="0"/>
              </a:spcBef>
              <a:spcAft>
                <a:spcPts val="0"/>
              </a:spcAft>
              <a:buClrTx/>
              <a:buSzTx/>
              <a:buFontTx/>
              <a:buNone/>
              <a:tabLst/>
              <a:defRPr/>
            </a:pPr>
            <a:r>
              <a:rPr kumimoji="0" lang="en-US" sz="2799" b="0" i="0" u="none" strike="noStrike" kern="1200" cap="none" spc="0" normalizeH="0" baseline="0" noProof="0">
                <a:ln>
                  <a:noFill/>
                </a:ln>
                <a:solidFill>
                  <a:srgbClr val="0069B4"/>
                </a:solidFill>
                <a:effectLst/>
                <a:uLnTx/>
                <a:uFillTx/>
                <a:latin typeface="Calibri Light" panose="020F0302020204030204"/>
                <a:ea typeface="+mj-ea"/>
                <a:cs typeface="+mj-cs"/>
              </a:rPr>
              <a:t>Use Cases for Data Objective 1 (3/4) </a:t>
            </a:r>
          </a:p>
        </p:txBody>
      </p:sp>
      <p:grpSp>
        <p:nvGrpSpPr>
          <p:cNvPr id="100" name="Group 99">
            <a:extLst>
              <a:ext uri="{FF2B5EF4-FFF2-40B4-BE49-F238E27FC236}">
                <a16:creationId xmlns:a16="http://schemas.microsoft.com/office/drawing/2014/main" id="{41F40199-CFC5-49C7-9251-0989C9772F7F}"/>
              </a:ext>
            </a:extLst>
          </p:cNvPr>
          <p:cNvGrpSpPr/>
          <p:nvPr/>
        </p:nvGrpSpPr>
        <p:grpSpPr>
          <a:xfrm>
            <a:off x="7422405" y="4771265"/>
            <a:ext cx="2548547" cy="1937557"/>
            <a:chOff x="12687534" y="4543604"/>
            <a:chExt cx="2549874" cy="1938566"/>
          </a:xfrm>
        </p:grpSpPr>
        <p:sp>
          <p:nvSpPr>
            <p:cNvPr id="103" name="Rectangle 102">
              <a:extLst>
                <a:ext uri="{FF2B5EF4-FFF2-40B4-BE49-F238E27FC236}">
                  <a16:creationId xmlns:a16="http://schemas.microsoft.com/office/drawing/2014/main" id="{06C7632F-F35F-4919-8409-62C8D784AB9A}"/>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20" tIns="65020" rIns="65020" bIns="65020">
              <a:noAutofit/>
            </a:bodyPr>
            <a:lstStyle/>
            <a:p>
              <a:pPr marL="206437" marR="0" lvl="0" indent="-206437" algn="l" defTabSz="825747"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437" marR="0" lvl="0" indent="-206437" algn="l" defTabSz="825747"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04" name="Straight Connector 103">
              <a:extLst>
                <a:ext uri="{FF2B5EF4-FFF2-40B4-BE49-F238E27FC236}">
                  <a16:creationId xmlns:a16="http://schemas.microsoft.com/office/drawing/2014/main" id="{E667AF1C-FF61-4B5A-9FD7-13F0775D0D4D}"/>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05" name="Straight Connector 104">
              <a:extLst>
                <a:ext uri="{FF2B5EF4-FFF2-40B4-BE49-F238E27FC236}">
                  <a16:creationId xmlns:a16="http://schemas.microsoft.com/office/drawing/2014/main" id="{5705939A-76CE-4C5E-9AD5-E367651A4E8E}"/>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06" name="Straight Connector 105">
              <a:extLst>
                <a:ext uri="{FF2B5EF4-FFF2-40B4-BE49-F238E27FC236}">
                  <a16:creationId xmlns:a16="http://schemas.microsoft.com/office/drawing/2014/main" id="{34C4E1FB-9835-4007-AFA1-36CAD90BE309}"/>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07" name="Straight Connector 106">
              <a:extLst>
                <a:ext uri="{FF2B5EF4-FFF2-40B4-BE49-F238E27FC236}">
                  <a16:creationId xmlns:a16="http://schemas.microsoft.com/office/drawing/2014/main" id="{7098696C-574E-4FC7-8D74-D1297812B1F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08" name="Straight Arrow Connector 107">
              <a:extLst>
                <a:ext uri="{FF2B5EF4-FFF2-40B4-BE49-F238E27FC236}">
                  <a16:creationId xmlns:a16="http://schemas.microsoft.com/office/drawing/2014/main" id="{BC0CAC76-5B02-451A-B11D-625E85D7BD18}"/>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09" name="Straight Arrow Connector 108">
              <a:extLst>
                <a:ext uri="{FF2B5EF4-FFF2-40B4-BE49-F238E27FC236}">
                  <a16:creationId xmlns:a16="http://schemas.microsoft.com/office/drawing/2014/main" id="{FAFF1AEF-55A2-4F06-A5BD-A1A9ABFAE678}"/>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10" name="TextBox 109">
              <a:extLst>
                <a:ext uri="{FF2B5EF4-FFF2-40B4-BE49-F238E27FC236}">
                  <a16:creationId xmlns:a16="http://schemas.microsoft.com/office/drawing/2014/main" id="{E11355B9-E41F-4BE5-B155-5C0BE477A02F}"/>
                </a:ext>
              </a:extLst>
            </p:cNvPr>
            <p:cNvSpPr txBox="1"/>
            <p:nvPr/>
          </p:nvSpPr>
          <p:spPr>
            <a:xfrm>
              <a:off x="13270056" y="6054218"/>
              <a:ext cx="1798714"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1" i="0" u="none" strike="noStrike" kern="1200" cap="none" spc="0" normalizeH="0" baseline="0" noProof="0">
                  <a:ln>
                    <a:noFill/>
                  </a:ln>
                  <a:solidFill>
                    <a:srgbClr val="2E2E38"/>
                  </a:solidFill>
                  <a:effectLst/>
                  <a:uLnTx/>
                  <a:uFillTx/>
                  <a:latin typeface="Calibri" panose="020F0502020204030204"/>
                  <a:ea typeface="+mn-ea"/>
                  <a:cs typeface="+mn-cs"/>
                </a:rPr>
                <a:t>Effort level</a:t>
              </a:r>
            </a:p>
          </p:txBody>
        </p:sp>
        <p:sp>
          <p:nvSpPr>
            <p:cNvPr id="111" name="TextBox 110">
              <a:extLst>
                <a:ext uri="{FF2B5EF4-FFF2-40B4-BE49-F238E27FC236}">
                  <a16:creationId xmlns:a16="http://schemas.microsoft.com/office/drawing/2014/main" id="{81C9371D-17A4-404B-BE7D-47006311B43D}"/>
                </a:ext>
              </a:extLst>
            </p:cNvPr>
            <p:cNvSpPr txBox="1"/>
            <p:nvPr/>
          </p:nvSpPr>
          <p:spPr>
            <a:xfrm rot="16200000">
              <a:off x="12288481" y="5133476"/>
              <a:ext cx="1333177"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12" name="TextBox 111">
              <a:extLst>
                <a:ext uri="{FF2B5EF4-FFF2-40B4-BE49-F238E27FC236}">
                  <a16:creationId xmlns:a16="http://schemas.microsoft.com/office/drawing/2014/main" id="{93E6892B-432A-42CA-A3F7-9A50D8DB185A}"/>
                </a:ext>
              </a:extLst>
            </p:cNvPr>
            <p:cNvSpPr txBox="1"/>
            <p:nvPr/>
          </p:nvSpPr>
          <p:spPr>
            <a:xfrm>
              <a:off x="13070774" y="5569770"/>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3" name="TextBox 112">
              <a:extLst>
                <a:ext uri="{FF2B5EF4-FFF2-40B4-BE49-F238E27FC236}">
                  <a16:creationId xmlns:a16="http://schemas.microsoft.com/office/drawing/2014/main" id="{FFF64B40-3380-40B2-982B-9DCF68CDBBA5}"/>
                </a:ext>
              </a:extLst>
            </p:cNvPr>
            <p:cNvSpPr txBox="1"/>
            <p:nvPr/>
          </p:nvSpPr>
          <p:spPr>
            <a:xfrm>
              <a:off x="13070774" y="5118658"/>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4" name="TextBox 113">
              <a:extLst>
                <a:ext uri="{FF2B5EF4-FFF2-40B4-BE49-F238E27FC236}">
                  <a16:creationId xmlns:a16="http://schemas.microsoft.com/office/drawing/2014/main" id="{E7761BFD-1E21-4BCE-BB16-D2CB759B1EE6}"/>
                </a:ext>
              </a:extLst>
            </p:cNvPr>
            <p:cNvSpPr txBox="1"/>
            <p:nvPr/>
          </p:nvSpPr>
          <p:spPr>
            <a:xfrm>
              <a:off x="13070774" y="4684190"/>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116" name="TextBox 115">
              <a:extLst>
                <a:ext uri="{FF2B5EF4-FFF2-40B4-BE49-F238E27FC236}">
                  <a16:creationId xmlns:a16="http://schemas.microsoft.com/office/drawing/2014/main" id="{2AB08CF4-B21E-4265-B7A4-0D086E37B046}"/>
                </a:ext>
              </a:extLst>
            </p:cNvPr>
            <p:cNvSpPr txBox="1"/>
            <p:nvPr/>
          </p:nvSpPr>
          <p:spPr>
            <a:xfrm>
              <a:off x="13430519" y="5891712"/>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7" name="TextBox 116">
              <a:extLst>
                <a:ext uri="{FF2B5EF4-FFF2-40B4-BE49-F238E27FC236}">
                  <a16:creationId xmlns:a16="http://schemas.microsoft.com/office/drawing/2014/main" id="{5B43CBBD-4B91-4463-A7A6-FE44B78D0F12}"/>
                </a:ext>
              </a:extLst>
            </p:cNvPr>
            <p:cNvSpPr txBox="1"/>
            <p:nvPr/>
          </p:nvSpPr>
          <p:spPr>
            <a:xfrm>
              <a:off x="14007050" y="5891712"/>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8" name="TextBox 117">
              <a:extLst>
                <a:ext uri="{FF2B5EF4-FFF2-40B4-BE49-F238E27FC236}">
                  <a16:creationId xmlns:a16="http://schemas.microsoft.com/office/drawing/2014/main" id="{D4430AB8-4CA9-4F35-8D10-BE5EAFFDCD9E}"/>
                </a:ext>
              </a:extLst>
            </p:cNvPr>
            <p:cNvSpPr txBox="1"/>
            <p:nvPr/>
          </p:nvSpPr>
          <p:spPr>
            <a:xfrm>
              <a:off x="14583578" y="5891712"/>
              <a:ext cx="233536" cy="175203"/>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83"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119" name="Rectangle 118">
            <a:extLst>
              <a:ext uri="{FF2B5EF4-FFF2-40B4-BE49-F238E27FC236}">
                <a16:creationId xmlns:a16="http://schemas.microsoft.com/office/drawing/2014/main" id="{D1AEE21B-8568-4BE9-9133-738668773E9F}"/>
              </a:ext>
            </a:extLst>
          </p:cNvPr>
          <p:cNvSpPr/>
          <p:nvPr/>
        </p:nvSpPr>
        <p:spPr>
          <a:xfrm>
            <a:off x="8100264" y="486258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7A11B515-62CA-473A-987B-9BF00054D05A}"/>
              </a:ext>
            </a:extLst>
          </p:cNvPr>
          <p:cNvSpPr/>
          <p:nvPr/>
        </p:nvSpPr>
        <p:spPr>
          <a:xfrm>
            <a:off x="8647437" y="4864062"/>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CE6CE4F1-AB32-445E-AEE9-143314182C17}"/>
              </a:ext>
            </a:extLst>
          </p:cNvPr>
          <p:cNvSpPr/>
          <p:nvPr/>
        </p:nvSpPr>
        <p:spPr>
          <a:xfrm>
            <a:off x="9199044" y="4865538"/>
            <a:ext cx="499077" cy="387899"/>
          </a:xfrm>
          <a:prstGeom prst="rect">
            <a:avLst/>
          </a:prstGeom>
          <a:solidFill>
            <a:schemeClr val="accent2"/>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59BB4040-D008-424B-A2C3-B59027B41ACF}"/>
              </a:ext>
            </a:extLst>
          </p:cNvPr>
          <p:cNvSpPr/>
          <p:nvPr/>
        </p:nvSpPr>
        <p:spPr>
          <a:xfrm>
            <a:off x="8100264" y="529588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3" name="Rectangle 122">
            <a:extLst>
              <a:ext uri="{FF2B5EF4-FFF2-40B4-BE49-F238E27FC236}">
                <a16:creationId xmlns:a16="http://schemas.microsoft.com/office/drawing/2014/main" id="{A230A1BA-6277-40AA-926D-FB44DDB2FD12}"/>
              </a:ext>
            </a:extLst>
          </p:cNvPr>
          <p:cNvSpPr/>
          <p:nvPr/>
        </p:nvSpPr>
        <p:spPr>
          <a:xfrm>
            <a:off x="8647437" y="529588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4" name="Rectangle 123">
            <a:extLst>
              <a:ext uri="{FF2B5EF4-FFF2-40B4-BE49-F238E27FC236}">
                <a16:creationId xmlns:a16="http://schemas.microsoft.com/office/drawing/2014/main" id="{AD03806B-F5E8-432A-AB0F-631DC4098582}"/>
              </a:ext>
            </a:extLst>
          </p:cNvPr>
          <p:cNvSpPr/>
          <p:nvPr/>
        </p:nvSpPr>
        <p:spPr>
          <a:xfrm>
            <a:off x="9199044" y="529588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5E9601EC-4AC6-4C5C-97D7-A6AC17289D22}"/>
              </a:ext>
            </a:extLst>
          </p:cNvPr>
          <p:cNvSpPr/>
          <p:nvPr/>
        </p:nvSpPr>
        <p:spPr>
          <a:xfrm>
            <a:off x="8100264" y="570552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6" name="Rectangle 125">
            <a:extLst>
              <a:ext uri="{FF2B5EF4-FFF2-40B4-BE49-F238E27FC236}">
                <a16:creationId xmlns:a16="http://schemas.microsoft.com/office/drawing/2014/main" id="{79D1D21C-7D0E-437C-959F-25A7B3D15102}"/>
              </a:ext>
            </a:extLst>
          </p:cNvPr>
          <p:cNvSpPr/>
          <p:nvPr/>
        </p:nvSpPr>
        <p:spPr>
          <a:xfrm>
            <a:off x="8647437" y="570552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31" name="Rectangle 130">
            <a:extLst>
              <a:ext uri="{FF2B5EF4-FFF2-40B4-BE49-F238E27FC236}">
                <a16:creationId xmlns:a16="http://schemas.microsoft.com/office/drawing/2014/main" id="{228C8806-9085-44BC-B40A-09B57308B044}"/>
              </a:ext>
            </a:extLst>
          </p:cNvPr>
          <p:cNvSpPr/>
          <p:nvPr/>
        </p:nvSpPr>
        <p:spPr>
          <a:xfrm>
            <a:off x="9199044" y="5705520"/>
            <a:ext cx="499077" cy="387899"/>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ctr" defTabSz="913943" rtl="0" eaLnBrk="1" fontAlgn="auto" latinLnBrk="0" hangingPunct="1">
              <a:lnSpc>
                <a:spcPct val="11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 name="Rounded Rectangle 150">
            <a:extLst>
              <a:ext uri="{FF2B5EF4-FFF2-40B4-BE49-F238E27FC236}">
                <a16:creationId xmlns:a16="http://schemas.microsoft.com/office/drawing/2014/main" id="{5E20010F-F8CB-4BCB-88B0-11DB74814F4A}"/>
              </a:ext>
            </a:extLst>
          </p:cNvPr>
          <p:cNvSpPr/>
          <p:nvPr/>
        </p:nvSpPr>
        <p:spPr>
          <a:xfrm>
            <a:off x="7574712" y="1265850"/>
            <a:ext cx="3886597" cy="779732"/>
          </a:xfrm>
          <a:prstGeom prst="roundRect">
            <a:avLst/>
          </a:prstGeom>
          <a:solidFill>
            <a:schemeClr val="bg1"/>
          </a:solidFill>
          <a:ln w="19050" cap="flat" cmpd="sng" algn="ctr">
            <a:solidFill>
              <a:schemeClr val="tx2"/>
            </a:solidFill>
            <a:prstDash val="solid"/>
          </a:ln>
          <a:effectLst/>
        </p:spPr>
        <p:txBody>
          <a:bodyPr lIns="0" tIns="0" rIns="0" bIns="0" rtlCol="0" anchor="ctr" anchorCtr="0"/>
          <a:lstStyle/>
          <a:p>
            <a:pPr marL="0" marR="0" lvl="0" indent="0" algn="l" defTabSz="825747"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Re-launch data governance throughout the global organization based on revisited documents (focus on partnering with business); determine together with data owners the order and timeline of implementing renewed data management capabilities on data domains by taking into account the business availability</a:t>
            </a:r>
          </a:p>
        </p:txBody>
      </p:sp>
      <p:sp>
        <p:nvSpPr>
          <p:cNvPr id="133" name="Rectangle 132">
            <a:extLst>
              <a:ext uri="{FF2B5EF4-FFF2-40B4-BE49-F238E27FC236}">
                <a16:creationId xmlns:a16="http://schemas.microsoft.com/office/drawing/2014/main" id="{B055745D-C08C-44B9-A08F-7637F1AF919F}"/>
              </a:ext>
            </a:extLst>
          </p:cNvPr>
          <p:cNvSpPr/>
          <p:nvPr/>
        </p:nvSpPr>
        <p:spPr>
          <a:xfrm>
            <a:off x="6237242" y="1265850"/>
            <a:ext cx="1176951" cy="779732"/>
          </a:xfrm>
          <a:prstGeom prst="rect">
            <a:avLst/>
          </a:prstGeom>
          <a:solidFill>
            <a:schemeClr val="tx2"/>
          </a:solidFill>
          <a:ln w="9525" cap="flat" cmpd="sng" algn="ctr">
            <a:solidFill>
              <a:schemeClr val="accent1"/>
            </a:solidFill>
            <a:prstDash val="solid"/>
          </a:ln>
          <a:effectLst/>
        </p:spPr>
        <p:txBody>
          <a:bodyPr lIns="65020" tIns="65020" rIns="65020" bIns="65020" rtlCol="0" anchor="ctr" anchorCtr="0"/>
          <a:lstStyle/>
          <a:p>
            <a:pPr marL="0" marR="0" lvl="0" indent="0" algn="ctr" defTabSz="913388" rtl="0" eaLnBrk="1" fontAlgn="auto" latinLnBrk="0" hangingPunct="1">
              <a:lnSpc>
                <a:spcPct val="100000"/>
              </a:lnSpc>
              <a:spcBef>
                <a:spcPts val="0"/>
              </a:spcBef>
              <a:spcAft>
                <a:spcPts val="0"/>
              </a:spcAft>
              <a:buClrTx/>
              <a:buSzTx/>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Re-launch data governance</a:t>
            </a:r>
          </a:p>
        </p:txBody>
      </p:sp>
      <p:cxnSp>
        <p:nvCxnSpPr>
          <p:cNvPr id="134" name="Straight Connector 133">
            <a:extLst>
              <a:ext uri="{FF2B5EF4-FFF2-40B4-BE49-F238E27FC236}">
                <a16:creationId xmlns:a16="http://schemas.microsoft.com/office/drawing/2014/main" id="{ABC4AB6D-A8C8-42E5-80DF-A84C1A7374DD}"/>
              </a:ext>
            </a:extLst>
          </p:cNvPr>
          <p:cNvCxnSpPr>
            <a:cxnSpLocks/>
            <a:stCxn id="133" idx="3"/>
            <a:endCxn id="132" idx="1"/>
          </p:cNvCxnSpPr>
          <p:nvPr/>
        </p:nvCxnSpPr>
        <p:spPr>
          <a:xfrm>
            <a:off x="7414193" y="1655716"/>
            <a:ext cx="160519" cy="0"/>
          </a:xfrm>
          <a:prstGeom prst="line">
            <a:avLst/>
          </a:prstGeom>
          <a:noFill/>
          <a:ln w="76200" cap="flat" cmpd="sng" algn="ctr">
            <a:solidFill>
              <a:schemeClr val="tx2"/>
            </a:solidFill>
            <a:prstDash val="solid"/>
          </a:ln>
          <a:effectLst/>
        </p:spPr>
      </p:cxnSp>
      <p:sp>
        <p:nvSpPr>
          <p:cNvPr id="169" name="Rectangle 168">
            <a:extLst>
              <a:ext uri="{FF2B5EF4-FFF2-40B4-BE49-F238E27FC236}">
                <a16:creationId xmlns:a16="http://schemas.microsoft.com/office/drawing/2014/main" id="{D01D072C-1925-43A9-A994-227A013DB5D9}"/>
              </a:ext>
            </a:extLst>
          </p:cNvPr>
          <p:cNvSpPr>
            <a:spLocks/>
          </p:cNvSpPr>
          <p:nvPr/>
        </p:nvSpPr>
        <p:spPr bwMode="gray">
          <a:xfrm>
            <a:off x="6245455" y="3587144"/>
            <a:ext cx="5217770" cy="758672"/>
          </a:xfrm>
          <a:prstGeom prst="rect">
            <a:avLst/>
          </a:prstGeom>
          <a:solidFill>
            <a:srgbClr val="FFFFFF"/>
          </a:solidFill>
          <a:ln w="3175">
            <a:noFill/>
          </a:ln>
        </p:spPr>
        <p:txBody>
          <a:bodyPr wrap="square" lIns="65020" tIns="65020" rIns="65020" bIns="65020">
            <a:noAutofit/>
          </a:bodyPr>
          <a:lstStyle/>
          <a:p>
            <a:pPr marL="0" marR="0" lvl="0" indent="0" algn="l" defTabSz="825747"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70" name="Round Same Side Corner Rectangle 24">
            <a:extLst>
              <a:ext uri="{FF2B5EF4-FFF2-40B4-BE49-F238E27FC236}">
                <a16:creationId xmlns:a16="http://schemas.microsoft.com/office/drawing/2014/main" id="{624D0F59-ABF0-4263-B3ED-7AC39478125C}"/>
              </a:ext>
            </a:extLst>
          </p:cNvPr>
          <p:cNvSpPr>
            <a:spLocks/>
          </p:cNvSpPr>
          <p:nvPr/>
        </p:nvSpPr>
        <p:spPr bwMode="gray">
          <a:xfrm>
            <a:off x="6245454" y="3302078"/>
            <a:ext cx="5217770" cy="279708"/>
          </a:xfrm>
          <a:prstGeom prst="round2SameRect">
            <a:avLst/>
          </a:prstGeom>
          <a:solidFill>
            <a:schemeClr val="tx2"/>
          </a:solidFill>
          <a:ln w="19050" cap="flat" cmpd="sng" algn="ctr">
            <a:solidFill>
              <a:schemeClr val="tx2"/>
            </a:solidFill>
            <a:prstDash val="solid"/>
          </a:ln>
          <a:effectLst/>
        </p:spPr>
        <p:txBody>
          <a:bodyPr lIns="65020" tIns="32510" rIns="32510" bIns="32510" rtlCol="0" anchor="t">
            <a:noAutofit/>
          </a:bodyPr>
          <a:lstStyle/>
          <a:p>
            <a:pPr marL="0" marR="0" lvl="1" indent="0" algn="l" defTabSz="897313" rtl="0" eaLnBrk="1" fontAlgn="auto" latinLnBrk="0" hangingPunct="1">
              <a:lnSpc>
                <a:spcPct val="100000"/>
              </a:lnSpc>
              <a:spcBef>
                <a:spcPts val="0"/>
              </a:spcBef>
              <a:spcAft>
                <a:spcPts val="90"/>
              </a:spcAft>
              <a:buClrTx/>
              <a:buSzPct val="70000"/>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Effort level*</a:t>
            </a:r>
          </a:p>
        </p:txBody>
      </p:sp>
      <p:sp>
        <p:nvSpPr>
          <p:cNvPr id="174" name="TextBox 173">
            <a:extLst>
              <a:ext uri="{FF2B5EF4-FFF2-40B4-BE49-F238E27FC236}">
                <a16:creationId xmlns:a16="http://schemas.microsoft.com/office/drawing/2014/main" id="{F0AF8E4D-9F24-4A01-AD28-0056FE9D4B83}"/>
              </a:ext>
            </a:extLst>
          </p:cNvPr>
          <p:cNvSpPr txBox="1"/>
          <p:nvPr/>
        </p:nvSpPr>
        <p:spPr>
          <a:xfrm>
            <a:off x="9003679" y="3595915"/>
            <a:ext cx="2451952" cy="701731"/>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3 Data office specialist 40 hours/week, 10 data stewards 5 hours/week, 4-5 data owners 5 hours/weeks all working for 6 weeks</a:t>
            </a:r>
          </a:p>
        </p:txBody>
      </p:sp>
      <p:grpSp>
        <p:nvGrpSpPr>
          <p:cNvPr id="88" name="Group 87">
            <a:extLst>
              <a:ext uri="{FF2B5EF4-FFF2-40B4-BE49-F238E27FC236}">
                <a16:creationId xmlns:a16="http://schemas.microsoft.com/office/drawing/2014/main" id="{FECD8A08-BCE9-4DDF-90B5-496CCDEA328D}"/>
              </a:ext>
            </a:extLst>
          </p:cNvPr>
          <p:cNvGrpSpPr/>
          <p:nvPr/>
        </p:nvGrpSpPr>
        <p:grpSpPr>
          <a:xfrm>
            <a:off x="7567105" y="2133286"/>
            <a:ext cx="3888527" cy="1043736"/>
            <a:chOff x="622344" y="1751542"/>
            <a:chExt cx="5212877" cy="1044280"/>
          </a:xfrm>
        </p:grpSpPr>
        <p:sp>
          <p:nvSpPr>
            <p:cNvPr id="90" name="Rectangle 89">
              <a:extLst>
                <a:ext uri="{FF2B5EF4-FFF2-40B4-BE49-F238E27FC236}">
                  <a16:creationId xmlns:a16="http://schemas.microsoft.com/office/drawing/2014/main" id="{5D4CDE3A-A3B2-48C6-B6E0-FDD1B7755760}"/>
                </a:ext>
              </a:extLst>
            </p:cNvPr>
            <p:cNvSpPr>
              <a:spLocks/>
            </p:cNvSpPr>
            <p:nvPr/>
          </p:nvSpPr>
          <p:spPr bwMode="gray">
            <a:xfrm>
              <a:off x="622345" y="2036755"/>
              <a:ext cx="5212876" cy="759067"/>
            </a:xfrm>
            <a:prstGeom prst="rect">
              <a:avLst/>
            </a:prstGeom>
            <a:solidFill>
              <a:srgbClr val="FFFFFF"/>
            </a:solidFill>
            <a:ln w="3175">
              <a:noFill/>
            </a:ln>
          </p:spPr>
          <p:txBody>
            <a:bodyPr wrap="square" lIns="65020" tIns="65020" rIns="65020" bIns="65020">
              <a:noAutofit/>
            </a:bodyPr>
            <a:lstStyle/>
            <a:p>
              <a:pPr marL="0" marR="0" lvl="0" indent="0" algn="l" defTabSz="825747"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1" name="Round Same Side Corner Rectangle 24">
              <a:extLst>
                <a:ext uri="{FF2B5EF4-FFF2-40B4-BE49-F238E27FC236}">
                  <a16:creationId xmlns:a16="http://schemas.microsoft.com/office/drawing/2014/main" id="{EB5FA4AE-6558-429E-93FF-7A8E6DE1CE05}"/>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20" tIns="32510" rIns="32510" bIns="32510" rtlCol="0" anchor="t">
              <a:noAutofit/>
            </a:bodyPr>
            <a:lstStyle/>
            <a:p>
              <a:pPr marL="0" marR="0" lvl="1" indent="0" algn="l" defTabSz="897313" rtl="0" eaLnBrk="1" fontAlgn="auto" latinLnBrk="0" hangingPunct="1">
                <a:lnSpc>
                  <a:spcPct val="100000"/>
                </a:lnSpc>
                <a:spcBef>
                  <a:spcPts val="0"/>
                </a:spcBef>
                <a:spcAft>
                  <a:spcPts val="90"/>
                </a:spcAft>
                <a:buClrTx/>
                <a:buSzPct val="70000"/>
                <a:buFontTx/>
                <a:buNone/>
                <a:tabLst/>
                <a:defRPr/>
              </a:pPr>
              <a:r>
                <a:rPr kumimoji="0" lang="en-US" sz="1083"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92" name="TextBox 91">
              <a:extLst>
                <a:ext uri="{FF2B5EF4-FFF2-40B4-BE49-F238E27FC236}">
                  <a16:creationId xmlns:a16="http://schemas.microsoft.com/office/drawing/2014/main" id="{5DE11C81-E027-40D2-AC10-D4249F7F1C42}"/>
                </a:ext>
              </a:extLst>
            </p:cNvPr>
            <p:cNvSpPr txBox="1"/>
            <p:nvPr/>
          </p:nvSpPr>
          <p:spPr>
            <a:xfrm>
              <a:off x="700281" y="2001676"/>
              <a:ext cx="2682509" cy="549667"/>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and departments are impacted</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1" name="Rounded Rectangle 150">
            <a:extLst>
              <a:ext uri="{FF2B5EF4-FFF2-40B4-BE49-F238E27FC236}">
                <a16:creationId xmlns:a16="http://schemas.microsoft.com/office/drawing/2014/main" id="{F501161F-EA6C-490D-8AE5-375EAC5E5C95}"/>
              </a:ext>
            </a:extLst>
          </p:cNvPr>
          <p:cNvSpPr/>
          <p:nvPr/>
        </p:nvSpPr>
        <p:spPr>
          <a:xfrm>
            <a:off x="619502" y="2122798"/>
            <a:ext cx="1168739" cy="503799"/>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5747"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115" name="Rounded Rectangle 150">
            <a:extLst>
              <a:ext uri="{FF2B5EF4-FFF2-40B4-BE49-F238E27FC236}">
                <a16:creationId xmlns:a16="http://schemas.microsoft.com/office/drawing/2014/main" id="{E4AB4B7B-C2F7-4907-8C8D-02DC60EA292F}"/>
              </a:ext>
            </a:extLst>
          </p:cNvPr>
          <p:cNvSpPr/>
          <p:nvPr/>
        </p:nvSpPr>
        <p:spPr>
          <a:xfrm>
            <a:off x="6237243" y="2132323"/>
            <a:ext cx="1168739" cy="503799"/>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5747"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96" name="TextBox 95">
            <a:extLst>
              <a:ext uri="{FF2B5EF4-FFF2-40B4-BE49-F238E27FC236}">
                <a16:creationId xmlns:a16="http://schemas.microsoft.com/office/drawing/2014/main" id="{C08978EB-9041-4366-A446-66448AD39ADE}"/>
              </a:ext>
            </a:extLst>
          </p:cNvPr>
          <p:cNvSpPr txBox="1"/>
          <p:nvPr/>
        </p:nvSpPr>
        <p:spPr>
          <a:xfrm>
            <a:off x="9550877" y="2383927"/>
            <a:ext cx="1912348" cy="853635"/>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 in data ownership</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 in trust to data</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0D1ED4F6-0043-484B-BBED-145062DBD72C}"/>
              </a:ext>
            </a:extLst>
          </p:cNvPr>
          <p:cNvSpPr txBox="1"/>
          <p:nvPr/>
        </p:nvSpPr>
        <p:spPr>
          <a:xfrm>
            <a:off x="6275639" y="3577379"/>
            <a:ext cx="2696118" cy="853635"/>
          </a:xfrm>
          <a:prstGeom prst="rect">
            <a:avLst/>
          </a:prstGeom>
          <a:noFill/>
        </p:spPr>
        <p:txBody>
          <a:bodyPr wrap="square" lIns="0" rIns="0" rtlCol="0" anchor="t" anchorCtr="0">
            <a:spAutoFit/>
          </a:bodyPr>
          <a:lstStyle/>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A global data governance program including the milestones, deliverables and the project management team is required based on use case nr. 1 and 2</a:t>
            </a:r>
          </a:p>
          <a:p>
            <a:pPr marL="171364" marR="0" lvl="0" indent="-171364" algn="l" defTabSz="45677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9A13B155-5C81-4A16-AFBF-FAE6DD4FC07A}"/>
              </a:ext>
            </a:extLst>
          </p:cNvPr>
          <p:cNvSpPr/>
          <p:nvPr/>
        </p:nvSpPr>
        <p:spPr>
          <a:xfrm>
            <a:off x="2602145" y="901456"/>
            <a:ext cx="8834407" cy="284540"/>
          </a:xfrm>
          <a:prstGeom prst="rect">
            <a:avLst/>
          </a:prstGeom>
          <a:noFill/>
          <a:ln w="6350" cap="flat" cmpd="sng" algn="ctr">
            <a:noFill/>
            <a:prstDash val="solid"/>
          </a:ln>
          <a:effectLst/>
        </p:spPr>
        <p:txBody>
          <a:bodyPr rot="0" spcFirstLastPara="0" vertOverflow="overflow" horzOverflow="overflow" vert="horz" wrap="square" lIns="71963" tIns="89953" rIns="71963" bIns="89953" numCol="1" spcCol="0" rtlCol="0" fromWordArt="0" anchor="ctr" anchorCtr="0" forceAA="0" compatLnSpc="1">
            <a:prstTxWarp prst="textNoShape">
              <a:avLst/>
            </a:prstTxWarp>
            <a:noAutofit/>
          </a:bodyPr>
          <a:lstStyle/>
          <a:p>
            <a:pPr marL="0" marR="0" lvl="0" indent="0" algn="l" defTabSz="913943" rtl="0" eaLnBrk="1" fontAlgn="auto" latinLnBrk="0" hangingPunct="0">
              <a:lnSpc>
                <a:spcPts val="1349"/>
              </a:lnSpc>
              <a:spcBef>
                <a:spcPts val="0"/>
              </a:spcBef>
              <a:spcAft>
                <a:spcPts val="0"/>
              </a:spcAft>
              <a:buClrTx/>
              <a:buSzPts val="950"/>
              <a:buFontTx/>
              <a:buNone/>
              <a:tabLst/>
              <a:defRPr/>
            </a:pPr>
            <a:r>
              <a:rPr kumimoji="0" lang="en-US" sz="1399"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endParaRPr kumimoji="0" lang="en-US" sz="1399"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cxnSp>
        <p:nvCxnSpPr>
          <p:cNvPr id="98" name="Straight Connector 97">
            <a:extLst>
              <a:ext uri="{FF2B5EF4-FFF2-40B4-BE49-F238E27FC236}">
                <a16:creationId xmlns:a16="http://schemas.microsoft.com/office/drawing/2014/main" id="{F93D2295-1BC8-456F-9B5F-86B71A8D774C}"/>
              </a:ext>
            </a:extLst>
          </p:cNvPr>
          <p:cNvCxnSpPr>
            <a:cxnSpLocks/>
          </p:cNvCxnSpPr>
          <p:nvPr/>
        </p:nvCxnSpPr>
        <p:spPr>
          <a:xfrm>
            <a:off x="617958" y="1201364"/>
            <a:ext cx="10818593"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2" name="Flowchart: Manual Input 101">
            <a:extLst>
              <a:ext uri="{FF2B5EF4-FFF2-40B4-BE49-F238E27FC236}">
                <a16:creationId xmlns:a16="http://schemas.microsoft.com/office/drawing/2014/main" id="{CE2F7FDB-1BB0-4FF1-A3AF-04C2948B9ABD}"/>
              </a:ext>
            </a:extLst>
          </p:cNvPr>
          <p:cNvSpPr/>
          <p:nvPr/>
        </p:nvSpPr>
        <p:spPr>
          <a:xfrm>
            <a:off x="617959" y="882226"/>
            <a:ext cx="1984187" cy="324663"/>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39" tIns="45619" rIns="91239" bIns="45619" numCol="1" spcCol="0" rtlCol="0" fromWordArt="0" anchor="ctr" anchorCtr="0" forceAA="0" compatLnSpc="1">
            <a:prstTxWarp prst="textNoShape">
              <a:avLst/>
            </a:prstTxWarp>
            <a:noAutofit/>
          </a:bodyPr>
          <a:lstStyle/>
          <a:p>
            <a:pPr marL="0" marR="0" lvl="0" indent="0" algn="ctr" defTabSz="912468"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1</a:t>
            </a:r>
          </a:p>
        </p:txBody>
      </p:sp>
      <p:sp>
        <p:nvSpPr>
          <p:cNvPr id="127" name="Oval 126">
            <a:extLst>
              <a:ext uri="{FF2B5EF4-FFF2-40B4-BE49-F238E27FC236}">
                <a16:creationId xmlns:a16="http://schemas.microsoft.com/office/drawing/2014/main" id="{B236F748-15C2-4102-897C-A3668A7F7ABA}"/>
              </a:ext>
            </a:extLst>
          </p:cNvPr>
          <p:cNvSpPr/>
          <p:nvPr/>
        </p:nvSpPr>
        <p:spPr>
          <a:xfrm>
            <a:off x="482706" y="1391480"/>
            <a:ext cx="286930" cy="287850"/>
          </a:xfrm>
          <a:prstGeom prst="ellipse">
            <a:avLst/>
          </a:prstGeom>
          <a:solidFill>
            <a:schemeClr val="accent4"/>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28" name="Oval 127">
            <a:extLst>
              <a:ext uri="{FF2B5EF4-FFF2-40B4-BE49-F238E27FC236}">
                <a16:creationId xmlns:a16="http://schemas.microsoft.com/office/drawing/2014/main" id="{0EA48901-90C5-4C2A-927C-6C6277003FCD}"/>
              </a:ext>
            </a:extLst>
          </p:cNvPr>
          <p:cNvSpPr/>
          <p:nvPr/>
        </p:nvSpPr>
        <p:spPr>
          <a:xfrm>
            <a:off x="6063050" y="1394738"/>
            <a:ext cx="286930" cy="287850"/>
          </a:xfrm>
          <a:prstGeom prst="ellipse">
            <a:avLst/>
          </a:prstGeom>
          <a:solidFill>
            <a:schemeClr val="accent4"/>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145" name="Rectangle 144">
            <a:extLst>
              <a:ext uri="{FF2B5EF4-FFF2-40B4-BE49-F238E27FC236}">
                <a16:creationId xmlns:a16="http://schemas.microsoft.com/office/drawing/2014/main" id="{DA698B93-5706-48AD-9710-4035F30990FD}"/>
              </a:ext>
            </a:extLst>
          </p:cNvPr>
          <p:cNvSpPr/>
          <p:nvPr/>
        </p:nvSpPr>
        <p:spPr>
          <a:xfrm>
            <a:off x="2667018" y="2116310"/>
            <a:ext cx="82800" cy="291448"/>
          </a:xfrm>
          <a:prstGeom prst="rect">
            <a:avLst/>
          </a:prstGeom>
          <a:solidFill>
            <a:srgbClr val="764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E4023271-B62B-471F-9919-87FBEC2340BA}"/>
              </a:ext>
            </a:extLst>
          </p:cNvPr>
          <p:cNvSpPr/>
          <p:nvPr/>
        </p:nvSpPr>
        <p:spPr>
          <a:xfrm>
            <a:off x="2514143" y="2116310"/>
            <a:ext cx="82800" cy="3063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75359498-8493-4449-938B-8DFC49745285}"/>
              </a:ext>
            </a:extLst>
          </p:cNvPr>
          <p:cNvSpPr/>
          <p:nvPr/>
        </p:nvSpPr>
        <p:spPr>
          <a:xfrm>
            <a:off x="8261263" y="2125488"/>
            <a:ext cx="82800" cy="291448"/>
          </a:xfrm>
          <a:prstGeom prst="rect">
            <a:avLst/>
          </a:prstGeom>
          <a:solidFill>
            <a:srgbClr val="764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Rectangle 148">
            <a:extLst>
              <a:ext uri="{FF2B5EF4-FFF2-40B4-BE49-F238E27FC236}">
                <a16:creationId xmlns:a16="http://schemas.microsoft.com/office/drawing/2014/main" id="{C6136B14-FEFA-43F4-A8A8-46666F7F546B}"/>
              </a:ext>
            </a:extLst>
          </p:cNvPr>
          <p:cNvSpPr/>
          <p:nvPr/>
        </p:nvSpPr>
        <p:spPr>
          <a:xfrm>
            <a:off x="8412038" y="2125488"/>
            <a:ext cx="82800" cy="291448"/>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0C2B666F-4503-4E0B-AF92-AB33B0482C6E}"/>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50" name="Picture 149">
            <a:extLst>
              <a:ext uri="{FF2B5EF4-FFF2-40B4-BE49-F238E27FC236}">
                <a16:creationId xmlns:a16="http://schemas.microsoft.com/office/drawing/2014/main" id="{3CA95C28-E9B6-49A1-B146-E309EE34557E}"/>
              </a:ext>
            </a:extLst>
          </p:cNvPr>
          <p:cNvPicPr>
            <a:picLocks noChangeAspect="1"/>
          </p:cNvPicPr>
          <p:nvPr/>
        </p:nvPicPr>
        <p:blipFill>
          <a:blip r:embed="rId7"/>
          <a:stretch>
            <a:fillRect/>
          </a:stretch>
        </p:blipFill>
        <p:spPr>
          <a:xfrm>
            <a:off x="10853730" y="89661"/>
            <a:ext cx="1188465" cy="552969"/>
          </a:xfrm>
          <a:prstGeom prst="rect">
            <a:avLst/>
          </a:prstGeom>
        </p:spPr>
      </p:pic>
      <p:grpSp>
        <p:nvGrpSpPr>
          <p:cNvPr id="153" name="Group 152">
            <a:extLst>
              <a:ext uri="{FF2B5EF4-FFF2-40B4-BE49-F238E27FC236}">
                <a16:creationId xmlns:a16="http://schemas.microsoft.com/office/drawing/2014/main" id="{7142698E-DB45-4EBF-B679-13953AF5F482}"/>
              </a:ext>
            </a:extLst>
          </p:cNvPr>
          <p:cNvGrpSpPr/>
          <p:nvPr/>
        </p:nvGrpSpPr>
        <p:grpSpPr>
          <a:xfrm>
            <a:off x="662234" y="6500120"/>
            <a:ext cx="11144979" cy="351566"/>
            <a:chOff x="662234" y="6500120"/>
            <a:chExt cx="11144979" cy="351566"/>
          </a:xfrm>
        </p:grpSpPr>
        <p:sp>
          <p:nvSpPr>
            <p:cNvPr id="157" name="Rectangle 156">
              <a:extLst>
                <a:ext uri="{FF2B5EF4-FFF2-40B4-BE49-F238E27FC236}">
                  <a16:creationId xmlns:a16="http://schemas.microsoft.com/office/drawing/2014/main" id="{A1531BCD-5E7D-447B-A4A1-1AA679D7DA16}"/>
                </a:ext>
              </a:extLst>
            </p:cNvPr>
            <p:cNvSpPr/>
            <p:nvPr/>
          </p:nvSpPr>
          <p:spPr>
            <a:xfrm>
              <a:off x="1536017" y="6500120"/>
              <a:ext cx="82800" cy="27956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 name="TextBox 157">
              <a:extLst>
                <a:ext uri="{FF2B5EF4-FFF2-40B4-BE49-F238E27FC236}">
                  <a16:creationId xmlns:a16="http://schemas.microsoft.com/office/drawing/2014/main" id="{35C42405-6C72-4BE1-AA25-8E06B0B91E65}"/>
                </a:ext>
              </a:extLst>
            </p:cNvPr>
            <p:cNvSpPr txBox="1"/>
            <p:nvPr/>
          </p:nvSpPr>
          <p:spPr>
            <a:xfrm>
              <a:off x="1659478" y="6543909"/>
              <a:ext cx="857607" cy="153888"/>
            </a:xfrm>
            <a:prstGeom prst="rect">
              <a:avLst/>
            </a:prstGeom>
          </p:spPr>
          <p:txBody>
            <a:bodyPr wrap="none" lIns="0" tIns="0" rIns="0" bIns="0" rtlCol="0" anchor="t" anchorCtr="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Revenue growth</a:t>
              </a:r>
            </a:p>
          </p:txBody>
        </p:sp>
        <p:sp>
          <p:nvSpPr>
            <p:cNvPr id="161" name="Rectangle 160">
              <a:extLst>
                <a:ext uri="{FF2B5EF4-FFF2-40B4-BE49-F238E27FC236}">
                  <a16:creationId xmlns:a16="http://schemas.microsoft.com/office/drawing/2014/main" id="{57987642-9354-4011-878E-F9B939ED2CFF}"/>
                </a:ext>
              </a:extLst>
            </p:cNvPr>
            <p:cNvSpPr/>
            <p:nvPr/>
          </p:nvSpPr>
          <p:spPr>
            <a:xfrm>
              <a:off x="2560638" y="6500120"/>
              <a:ext cx="82800" cy="27956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TextBox 161">
              <a:extLst>
                <a:ext uri="{FF2B5EF4-FFF2-40B4-BE49-F238E27FC236}">
                  <a16:creationId xmlns:a16="http://schemas.microsoft.com/office/drawing/2014/main" id="{876992E4-189E-4A18-B13C-97B927EE6BFA}"/>
                </a:ext>
              </a:extLst>
            </p:cNvPr>
            <p:cNvSpPr txBox="1"/>
            <p:nvPr/>
          </p:nvSpPr>
          <p:spPr>
            <a:xfrm>
              <a:off x="2684098" y="6543909"/>
              <a:ext cx="1029128" cy="153888"/>
            </a:xfrm>
            <a:prstGeom prst="rect">
              <a:avLst/>
            </a:prstGeom>
          </p:spPr>
          <p:txBody>
            <a:bodyPr wrap="none" lIns="0" tIns="0" rIns="0" bIns="0" rtlCol="0" anchor="t" anchorCtr="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Improved efficiency</a:t>
              </a:r>
            </a:p>
          </p:txBody>
        </p:sp>
        <p:sp>
          <p:nvSpPr>
            <p:cNvPr id="163" name="Rectangle 162">
              <a:extLst>
                <a:ext uri="{FF2B5EF4-FFF2-40B4-BE49-F238E27FC236}">
                  <a16:creationId xmlns:a16="http://schemas.microsoft.com/office/drawing/2014/main" id="{1BB429E8-4934-4E6D-9D41-D38113FA8DEC}"/>
                </a:ext>
              </a:extLst>
            </p:cNvPr>
            <p:cNvSpPr/>
            <p:nvPr/>
          </p:nvSpPr>
          <p:spPr>
            <a:xfrm>
              <a:off x="3743994" y="6500120"/>
              <a:ext cx="82800" cy="279562"/>
            </a:xfrm>
            <a:prstGeom prst="rect">
              <a:avLst/>
            </a:prstGeom>
            <a:solidFill>
              <a:srgbClr val="764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4" name="TextBox 163">
              <a:extLst>
                <a:ext uri="{FF2B5EF4-FFF2-40B4-BE49-F238E27FC236}">
                  <a16:creationId xmlns:a16="http://schemas.microsoft.com/office/drawing/2014/main" id="{9956DADE-FB00-42EA-ABED-912F50396AB2}"/>
                </a:ext>
              </a:extLst>
            </p:cNvPr>
            <p:cNvSpPr txBox="1"/>
            <p:nvPr/>
          </p:nvSpPr>
          <p:spPr>
            <a:xfrm>
              <a:off x="3867455" y="6543909"/>
              <a:ext cx="1954061" cy="153888"/>
            </a:xfrm>
            <a:prstGeom prst="rect">
              <a:avLst/>
            </a:prstGeom>
          </p:spPr>
          <p:txBody>
            <a:bodyPr wrap="none" lIns="0" tIns="0" rIns="0" bIns="0" rtlCol="0" anchor="t" anchorCtr="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Risk reduction/regulatory compliance</a:t>
              </a:r>
            </a:p>
          </p:txBody>
        </p:sp>
        <p:sp>
          <p:nvSpPr>
            <p:cNvPr id="165" name="Rectangle 164">
              <a:extLst>
                <a:ext uri="{FF2B5EF4-FFF2-40B4-BE49-F238E27FC236}">
                  <a16:creationId xmlns:a16="http://schemas.microsoft.com/office/drawing/2014/main" id="{B485394F-E2A5-43B2-9133-D34EE98D144E}"/>
                </a:ext>
              </a:extLst>
            </p:cNvPr>
            <p:cNvSpPr/>
            <p:nvPr/>
          </p:nvSpPr>
          <p:spPr>
            <a:xfrm>
              <a:off x="5879600" y="6500120"/>
              <a:ext cx="82800" cy="279562"/>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TextBox 165">
              <a:extLst>
                <a:ext uri="{FF2B5EF4-FFF2-40B4-BE49-F238E27FC236}">
                  <a16:creationId xmlns:a16="http://schemas.microsoft.com/office/drawing/2014/main" id="{891AEE7F-31A2-4882-9225-8BD3AAE5BA87}"/>
                </a:ext>
              </a:extLst>
            </p:cNvPr>
            <p:cNvSpPr txBox="1"/>
            <p:nvPr/>
          </p:nvSpPr>
          <p:spPr>
            <a:xfrm>
              <a:off x="6003060" y="6543909"/>
              <a:ext cx="1179810" cy="153888"/>
            </a:xfrm>
            <a:prstGeom prst="rect">
              <a:avLst/>
            </a:prstGeom>
          </p:spPr>
          <p:txBody>
            <a:bodyPr wrap="none" lIns="0" tIns="0" rIns="0" bIns="0" rtlCol="0" anchor="t" anchorCtr="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Foundation / Priority 0</a:t>
              </a:r>
            </a:p>
          </p:txBody>
        </p:sp>
        <p:sp>
          <p:nvSpPr>
            <p:cNvPr id="167" name="TextBox 166">
              <a:extLst>
                <a:ext uri="{FF2B5EF4-FFF2-40B4-BE49-F238E27FC236}">
                  <a16:creationId xmlns:a16="http://schemas.microsoft.com/office/drawing/2014/main" id="{0358EBFE-0217-4130-8FFA-6F5BEE6453BC}"/>
                </a:ext>
              </a:extLst>
            </p:cNvPr>
            <p:cNvSpPr txBox="1"/>
            <p:nvPr/>
          </p:nvSpPr>
          <p:spPr>
            <a:xfrm>
              <a:off x="662234" y="6543909"/>
              <a:ext cx="939160" cy="153888"/>
            </a:xfrm>
            <a:prstGeom prst="rect">
              <a:avLst/>
            </a:prstGeom>
          </p:spPr>
          <p:txBody>
            <a:bodyPr wrap="square" lIns="0" tIns="0" rIns="0" bIns="0" rtlCol="0" anchor="t" anchorCtr="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Type of impact:</a:t>
              </a:r>
            </a:p>
          </p:txBody>
        </p:sp>
        <p:sp>
          <p:nvSpPr>
            <p:cNvPr id="168" name="TextBox 167">
              <a:extLst>
                <a:ext uri="{FF2B5EF4-FFF2-40B4-BE49-F238E27FC236}">
                  <a16:creationId xmlns:a16="http://schemas.microsoft.com/office/drawing/2014/main" id="{ED0639C7-43BD-46BC-BA2A-5B2AB10C4258}"/>
                </a:ext>
              </a:extLst>
            </p:cNvPr>
            <p:cNvSpPr txBox="1"/>
            <p:nvPr/>
          </p:nvSpPr>
          <p:spPr>
            <a:xfrm>
              <a:off x="7532467" y="6543909"/>
              <a:ext cx="4274746" cy="307777"/>
            </a:xfrm>
            <a:prstGeom prst="rect">
              <a:avLst/>
            </a:prstGeom>
          </p:spPr>
          <p:txBody>
            <a:bodyPr wrap="square" lIns="0" tIns="0" rIns="0" bIns="0" rtlCol="0" anchor="t" anchorCtr="0">
              <a:spAutoFit/>
            </a:bodyPr>
            <a:lstStyle/>
            <a:p>
              <a:r>
                <a:rPr lang="en-US" sz="1000" i="1">
                  <a:solidFill>
                    <a:schemeClr val="tx1"/>
                  </a:solidFill>
                </a:rPr>
                <a:t>* The estimated effort is based on an educated guess and does not fully take into account actual timelines; more clarity will come when the roadmap is developed.</a:t>
              </a:r>
            </a:p>
          </p:txBody>
        </p:sp>
      </p:grpSp>
    </p:spTree>
    <p:extLst>
      <p:ext uri="{BB962C8B-B14F-4D97-AF65-F5344CB8AC3E}">
        <p14:creationId xmlns:p14="http://schemas.microsoft.com/office/powerpoint/2010/main" val="16881639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494CD-135A-4DE0-97D6-88BE7FB52C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12494CD-135A-4DE0-97D6-88BE7FB52C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D34AAC38-AA0B-4157-A388-E347A5EDECEE}"/>
              </a:ext>
            </a:extLst>
          </p:cNvPr>
          <p:cNvSpPr>
            <a:spLocks noGrp="1"/>
          </p:cNvSpPr>
          <p:nvPr>
            <p:ph type="ctrTitle"/>
          </p:nvPr>
        </p:nvSpPr>
        <p:spPr/>
        <p:txBody>
          <a:bodyPr vert="horz">
            <a:normAutofit fontScale="90000"/>
          </a:bodyPr>
          <a:lstStyle/>
          <a:p>
            <a:r>
              <a:rPr lang="en-US"/>
              <a:t>Timeline for approval of Roadmap objectives within Aegon Asset Management</a:t>
            </a:r>
          </a:p>
        </p:txBody>
      </p:sp>
      <p:grpSp>
        <p:nvGrpSpPr>
          <p:cNvPr id="18" name="Group 17">
            <a:extLst>
              <a:ext uri="{FF2B5EF4-FFF2-40B4-BE49-F238E27FC236}">
                <a16:creationId xmlns:a16="http://schemas.microsoft.com/office/drawing/2014/main" id="{FD5EA12B-27C8-4E60-B52C-CED396D54AED}"/>
              </a:ext>
            </a:extLst>
          </p:cNvPr>
          <p:cNvGrpSpPr/>
          <p:nvPr/>
        </p:nvGrpSpPr>
        <p:grpSpPr>
          <a:xfrm>
            <a:off x="577521" y="2040556"/>
            <a:ext cx="1485953" cy="1879290"/>
            <a:chOff x="577521" y="2040556"/>
            <a:chExt cx="1485953" cy="1879290"/>
          </a:xfrm>
        </p:grpSpPr>
        <p:sp>
          <p:nvSpPr>
            <p:cNvPr id="58" name="Rectangle 57">
              <a:extLst>
                <a:ext uri="{FF2B5EF4-FFF2-40B4-BE49-F238E27FC236}">
                  <a16:creationId xmlns:a16="http://schemas.microsoft.com/office/drawing/2014/main" id="{096288E5-2AF2-4D59-AF42-3A197E95CBEC}"/>
                </a:ext>
              </a:extLst>
            </p:cNvPr>
            <p:cNvSpPr/>
            <p:nvPr/>
          </p:nvSpPr>
          <p:spPr>
            <a:xfrm>
              <a:off x="614633"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Objective 1 brought to the Guiding Coalition for approval</a:t>
              </a:r>
            </a:p>
          </p:txBody>
        </p:sp>
        <p:sp>
          <p:nvSpPr>
            <p:cNvPr id="89" name="Chevron 80">
              <a:extLst>
                <a:ext uri="{FF2B5EF4-FFF2-40B4-BE49-F238E27FC236}">
                  <a16:creationId xmlns:a16="http://schemas.microsoft.com/office/drawing/2014/main" id="{2162765D-7B81-4E99-BD25-EB0EE276E86F}"/>
                </a:ext>
              </a:extLst>
            </p:cNvPr>
            <p:cNvSpPr/>
            <p:nvPr/>
          </p:nvSpPr>
          <p:spPr bwMode="auto">
            <a:xfrm>
              <a:off x="577521" y="2040556"/>
              <a:ext cx="1485953" cy="739912"/>
            </a:xfrm>
            <a:prstGeom prst="chevron">
              <a:avLst/>
            </a:prstGeom>
            <a:solidFill>
              <a:schemeClr val="accent1"/>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4th G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Aug 8</a:t>
              </a:r>
            </a:p>
          </p:txBody>
        </p:sp>
      </p:grpSp>
      <p:grpSp>
        <p:nvGrpSpPr>
          <p:cNvPr id="17" name="Group 16">
            <a:extLst>
              <a:ext uri="{FF2B5EF4-FFF2-40B4-BE49-F238E27FC236}">
                <a16:creationId xmlns:a16="http://schemas.microsoft.com/office/drawing/2014/main" id="{EA6C5775-8E71-48EC-AA56-84AC5DBEBE15}"/>
              </a:ext>
            </a:extLst>
          </p:cNvPr>
          <p:cNvGrpSpPr/>
          <p:nvPr/>
        </p:nvGrpSpPr>
        <p:grpSpPr>
          <a:xfrm>
            <a:off x="2498789" y="2040556"/>
            <a:ext cx="1485953" cy="1879290"/>
            <a:chOff x="1950939" y="2040556"/>
            <a:chExt cx="1485953" cy="1879290"/>
          </a:xfrm>
        </p:grpSpPr>
        <p:sp>
          <p:nvSpPr>
            <p:cNvPr id="61" name="Rectangle 60">
              <a:extLst>
                <a:ext uri="{FF2B5EF4-FFF2-40B4-BE49-F238E27FC236}">
                  <a16:creationId xmlns:a16="http://schemas.microsoft.com/office/drawing/2014/main" id="{CB217D69-A21A-4661-813A-ED877269649E}"/>
                </a:ext>
              </a:extLst>
            </p:cNvPr>
            <p:cNvSpPr/>
            <p:nvPr/>
          </p:nvSpPr>
          <p:spPr>
            <a:xfrm>
              <a:off x="1996690"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Objective 2 brought to the Guiding Coalition for approval</a:t>
              </a:r>
            </a:p>
          </p:txBody>
        </p:sp>
        <p:sp>
          <p:nvSpPr>
            <p:cNvPr id="90" name="Chevron 10">
              <a:extLst>
                <a:ext uri="{FF2B5EF4-FFF2-40B4-BE49-F238E27FC236}">
                  <a16:creationId xmlns:a16="http://schemas.microsoft.com/office/drawing/2014/main" id="{E8FEF0E4-1D82-481F-88EB-DB66320E3E11}"/>
                </a:ext>
              </a:extLst>
            </p:cNvPr>
            <p:cNvSpPr/>
            <p:nvPr/>
          </p:nvSpPr>
          <p:spPr bwMode="auto">
            <a:xfrm>
              <a:off x="1950939"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5th G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Aug 29</a:t>
              </a:r>
            </a:p>
          </p:txBody>
        </p:sp>
      </p:grpSp>
      <p:grpSp>
        <p:nvGrpSpPr>
          <p:cNvPr id="16" name="Group 15">
            <a:extLst>
              <a:ext uri="{FF2B5EF4-FFF2-40B4-BE49-F238E27FC236}">
                <a16:creationId xmlns:a16="http://schemas.microsoft.com/office/drawing/2014/main" id="{91265009-718F-486B-A55F-C1EDE93EDFE9}"/>
              </a:ext>
            </a:extLst>
          </p:cNvPr>
          <p:cNvGrpSpPr/>
          <p:nvPr/>
        </p:nvGrpSpPr>
        <p:grpSpPr>
          <a:xfrm>
            <a:off x="4420057" y="2040556"/>
            <a:ext cx="1485953" cy="1879290"/>
            <a:chOff x="3324357" y="2040556"/>
            <a:chExt cx="1485953" cy="1879290"/>
          </a:xfrm>
        </p:grpSpPr>
        <p:sp>
          <p:nvSpPr>
            <p:cNvPr id="70" name="Rectangle 69">
              <a:extLst>
                <a:ext uri="{FF2B5EF4-FFF2-40B4-BE49-F238E27FC236}">
                  <a16:creationId xmlns:a16="http://schemas.microsoft.com/office/drawing/2014/main" id="{F5519517-D42B-4D89-8861-0EA6288FC3C8}"/>
                </a:ext>
              </a:extLst>
            </p:cNvPr>
            <p:cNvSpPr/>
            <p:nvPr/>
          </p:nvSpPr>
          <p:spPr>
            <a:xfrm>
              <a:off x="3378747"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Objective 4 brought to Guiding Coalition for approva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Chevron 80">
              <a:extLst>
                <a:ext uri="{FF2B5EF4-FFF2-40B4-BE49-F238E27FC236}">
                  <a16:creationId xmlns:a16="http://schemas.microsoft.com/office/drawing/2014/main" id="{88DA59C2-E33A-4F68-BE84-91D3CC987C24}"/>
                </a:ext>
              </a:extLst>
            </p:cNvPr>
            <p:cNvSpPr/>
            <p:nvPr/>
          </p:nvSpPr>
          <p:spPr bwMode="auto">
            <a:xfrm>
              <a:off x="3324357" y="2040556"/>
              <a:ext cx="1485953" cy="739912"/>
            </a:xfrm>
            <a:prstGeom prst="chevron">
              <a:avLst/>
            </a:prstGeom>
            <a:solidFill>
              <a:schemeClr val="accent2"/>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mn-cs"/>
                </a:rPr>
                <a:t>6th G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mn-cs"/>
                </a:rPr>
                <a:t>Sep 5</a:t>
              </a:r>
            </a:p>
          </p:txBody>
        </p:sp>
      </p:grpSp>
      <p:grpSp>
        <p:nvGrpSpPr>
          <p:cNvPr id="15" name="Group 14">
            <a:extLst>
              <a:ext uri="{FF2B5EF4-FFF2-40B4-BE49-F238E27FC236}">
                <a16:creationId xmlns:a16="http://schemas.microsoft.com/office/drawing/2014/main" id="{9AC61CE2-8A08-4C93-ADD9-86ECF4A05117}"/>
              </a:ext>
            </a:extLst>
          </p:cNvPr>
          <p:cNvGrpSpPr/>
          <p:nvPr/>
        </p:nvGrpSpPr>
        <p:grpSpPr>
          <a:xfrm>
            <a:off x="6341325" y="2040556"/>
            <a:ext cx="1485953" cy="1879290"/>
            <a:chOff x="4697775" y="2040556"/>
            <a:chExt cx="1485953" cy="1879290"/>
          </a:xfrm>
        </p:grpSpPr>
        <p:sp>
          <p:nvSpPr>
            <p:cNvPr id="86" name="Rectangle 85">
              <a:extLst>
                <a:ext uri="{FF2B5EF4-FFF2-40B4-BE49-F238E27FC236}">
                  <a16:creationId xmlns:a16="http://schemas.microsoft.com/office/drawing/2014/main" id="{9FBBEE21-A11A-43FE-94A3-A984CDCDBA4C}"/>
                </a:ext>
              </a:extLst>
            </p:cNvPr>
            <p:cNvSpPr/>
            <p:nvPr/>
          </p:nvSpPr>
          <p:spPr>
            <a:xfrm>
              <a:off x="4752727"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Objective 3A brought to Guiding Coalition for approva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Objective 3B brought to Guiding Coalition for approva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Chevron 80">
              <a:extLst>
                <a:ext uri="{FF2B5EF4-FFF2-40B4-BE49-F238E27FC236}">
                  <a16:creationId xmlns:a16="http://schemas.microsoft.com/office/drawing/2014/main" id="{4E5484E5-1C9A-4D84-A2D5-7D52B24E594D}"/>
                </a:ext>
              </a:extLst>
            </p:cNvPr>
            <p:cNvSpPr/>
            <p:nvPr/>
          </p:nvSpPr>
          <p:spPr bwMode="auto">
            <a:xfrm>
              <a:off x="4697775" y="2040556"/>
              <a:ext cx="1485953" cy="739912"/>
            </a:xfrm>
            <a:prstGeom prst="chevron">
              <a:avLst/>
            </a:prstGeom>
            <a:solidFill>
              <a:srgbClr val="0069B4"/>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7th G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Sep 19</a:t>
              </a:r>
            </a:p>
          </p:txBody>
        </p:sp>
      </p:grpSp>
      <p:grpSp>
        <p:nvGrpSpPr>
          <p:cNvPr id="14" name="Group 13">
            <a:extLst>
              <a:ext uri="{FF2B5EF4-FFF2-40B4-BE49-F238E27FC236}">
                <a16:creationId xmlns:a16="http://schemas.microsoft.com/office/drawing/2014/main" id="{E1655E3F-7C55-46A7-9F78-896311B3AE9B}"/>
              </a:ext>
            </a:extLst>
          </p:cNvPr>
          <p:cNvGrpSpPr/>
          <p:nvPr/>
        </p:nvGrpSpPr>
        <p:grpSpPr>
          <a:xfrm>
            <a:off x="8262593" y="2040556"/>
            <a:ext cx="1485953" cy="3323924"/>
            <a:chOff x="6071193" y="2040556"/>
            <a:chExt cx="1485953" cy="3323924"/>
          </a:xfrm>
        </p:grpSpPr>
        <p:sp>
          <p:nvSpPr>
            <p:cNvPr id="59" name="Rectangle 58">
              <a:extLst>
                <a:ext uri="{FF2B5EF4-FFF2-40B4-BE49-F238E27FC236}">
                  <a16:creationId xmlns:a16="http://schemas.microsoft.com/office/drawing/2014/main" id="{8E05604F-E208-4F08-8FE6-A47E782D046C}"/>
                </a:ext>
              </a:extLst>
            </p:cNvPr>
            <p:cNvSpPr/>
            <p:nvPr/>
          </p:nvSpPr>
          <p:spPr>
            <a:xfrm>
              <a:off x="6142861" y="2898766"/>
              <a:ext cx="1368000" cy="246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Objective 5 brought to Guiding Coalition for approva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All objective roadmaps signed off by the Guiding Coali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Chevron 80">
              <a:extLst>
                <a:ext uri="{FF2B5EF4-FFF2-40B4-BE49-F238E27FC236}">
                  <a16:creationId xmlns:a16="http://schemas.microsoft.com/office/drawing/2014/main" id="{C06C8A02-2AF4-47A6-8024-C47DE0DE447E}"/>
                </a:ext>
              </a:extLst>
            </p:cNvPr>
            <p:cNvSpPr/>
            <p:nvPr/>
          </p:nvSpPr>
          <p:spPr bwMode="auto">
            <a:xfrm>
              <a:off x="6071193"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8th GC Oct 3</a:t>
              </a:r>
            </a:p>
          </p:txBody>
        </p:sp>
      </p:grpSp>
      <p:grpSp>
        <p:nvGrpSpPr>
          <p:cNvPr id="13" name="Group 12">
            <a:extLst>
              <a:ext uri="{FF2B5EF4-FFF2-40B4-BE49-F238E27FC236}">
                <a16:creationId xmlns:a16="http://schemas.microsoft.com/office/drawing/2014/main" id="{ABA04CF9-E440-4AF1-969B-B4C4C9A52992}"/>
              </a:ext>
            </a:extLst>
          </p:cNvPr>
          <p:cNvGrpSpPr/>
          <p:nvPr/>
        </p:nvGrpSpPr>
        <p:grpSpPr>
          <a:xfrm>
            <a:off x="10183859" y="2040556"/>
            <a:ext cx="1485953" cy="1879290"/>
            <a:chOff x="7444608" y="2040556"/>
            <a:chExt cx="1485953" cy="1879290"/>
          </a:xfrm>
        </p:grpSpPr>
        <p:sp>
          <p:nvSpPr>
            <p:cNvPr id="55" name="Rectangle 54">
              <a:extLst>
                <a:ext uri="{FF2B5EF4-FFF2-40B4-BE49-F238E27FC236}">
                  <a16:creationId xmlns:a16="http://schemas.microsoft.com/office/drawing/2014/main" id="{337C39BA-4C29-4D81-AEF5-C0170F4CF3A0}"/>
                </a:ext>
              </a:extLst>
            </p:cNvPr>
            <p:cNvSpPr/>
            <p:nvPr/>
          </p:nvSpPr>
          <p:spPr>
            <a:xfrm>
              <a:off x="7524920"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Roadmap objective 1 activated</a:t>
              </a:r>
            </a:p>
          </p:txBody>
        </p:sp>
        <p:sp>
          <p:nvSpPr>
            <p:cNvPr id="94" name="Chevron 80">
              <a:extLst>
                <a:ext uri="{FF2B5EF4-FFF2-40B4-BE49-F238E27FC236}">
                  <a16:creationId xmlns:a16="http://schemas.microsoft.com/office/drawing/2014/main" id="{031D962F-492A-42C1-AA44-44CA8059860B}"/>
                </a:ext>
              </a:extLst>
            </p:cNvPr>
            <p:cNvSpPr/>
            <p:nvPr/>
          </p:nvSpPr>
          <p:spPr bwMode="auto">
            <a:xfrm>
              <a:off x="7444608"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Kick-off Obj 1 Oct 17</a:t>
              </a:r>
            </a:p>
          </p:txBody>
        </p:sp>
      </p:grpSp>
      <p:sp>
        <p:nvSpPr>
          <p:cNvPr id="37" name="Chevron 10">
            <a:extLst>
              <a:ext uri="{FF2B5EF4-FFF2-40B4-BE49-F238E27FC236}">
                <a16:creationId xmlns:a16="http://schemas.microsoft.com/office/drawing/2014/main" id="{5E9FF9D4-63C9-4497-8103-08ADF0F242EB}"/>
              </a:ext>
            </a:extLst>
          </p:cNvPr>
          <p:cNvSpPr/>
          <p:nvPr/>
        </p:nvSpPr>
        <p:spPr bwMode="auto">
          <a:xfrm>
            <a:off x="569936" y="1728716"/>
            <a:ext cx="11099876" cy="245075"/>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Timeline for launching Roadmap Objectives</a:t>
            </a:r>
          </a:p>
        </p:txBody>
      </p:sp>
    </p:spTree>
    <p:extLst>
      <p:ext uri="{BB962C8B-B14F-4D97-AF65-F5344CB8AC3E}">
        <p14:creationId xmlns:p14="http://schemas.microsoft.com/office/powerpoint/2010/main" val="5141882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DDDF5-9668-4AEF-A495-72E97B8339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568DDDF5-9668-4AEF-A495-72E97B8339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2004C66-D3CE-4323-8F97-C16D87D5EC5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92769" y="0"/>
            <a:ext cx="3999231" cy="6858000"/>
          </a:xfrm>
          <a:prstGeom prst="rect">
            <a:avLst/>
          </a:prstGeom>
        </p:spPr>
      </p:pic>
      <p:sp>
        <p:nvSpPr>
          <p:cNvPr id="10" name="Rectangle 3">
            <a:extLst>
              <a:ext uri="{FF2B5EF4-FFF2-40B4-BE49-F238E27FC236}">
                <a16:creationId xmlns:a16="http://schemas.microsoft.com/office/drawing/2014/main" id="{20050DF9-1E09-4CB3-A763-D5188844764A}"/>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BC12C69-5868-43F1-ACE5-5EC7BAE0FA00}"/>
              </a:ext>
            </a:extLst>
          </p:cNvPr>
          <p:cNvSpPr/>
          <p:nvPr/>
        </p:nvSpPr>
        <p:spPr>
          <a:xfrm>
            <a:off x="11834807" y="6429170"/>
            <a:ext cx="36740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8F02DA-AB65-4DE3-8C32-C1DFFF12922F}" type="slidenum">
              <a:rPr kumimoji="0" lang="nl-NL" sz="12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A picture containing clipart&#10;&#10;Description automatically generated">
            <a:extLst>
              <a:ext uri="{FF2B5EF4-FFF2-40B4-BE49-F238E27FC236}">
                <a16:creationId xmlns:a16="http://schemas.microsoft.com/office/drawing/2014/main" id="{27C315A7-709E-4841-9D06-53BC1FFAE438}"/>
              </a:ext>
            </a:extLst>
          </p:cNvPr>
          <p:cNvPicPr>
            <a:picLocks noChangeAspect="1"/>
          </p:cNvPicPr>
          <p:nvPr/>
        </p:nvPicPr>
        <p:blipFill>
          <a:blip r:embed="rId6"/>
          <a:stretch>
            <a:fillRect/>
          </a:stretch>
        </p:blipFill>
        <p:spPr>
          <a:xfrm>
            <a:off x="10050430" y="6200814"/>
            <a:ext cx="1404000" cy="408235"/>
          </a:xfrm>
          <a:prstGeom prst="rect">
            <a:avLst/>
          </a:prstGeom>
        </p:spPr>
      </p:pic>
      <p:graphicFrame>
        <p:nvGraphicFramePr>
          <p:cNvPr id="14" name="Content Placeholder 20">
            <a:extLst>
              <a:ext uri="{FF2B5EF4-FFF2-40B4-BE49-F238E27FC236}">
                <a16:creationId xmlns:a16="http://schemas.microsoft.com/office/drawing/2014/main" id="{94ED52E9-0026-4E48-A030-AF6058454A00}"/>
              </a:ext>
            </a:extLst>
          </p:cNvPr>
          <p:cNvGraphicFramePr>
            <a:graphicFrameLocks/>
          </p:cNvGraphicFramePr>
          <p:nvPr>
            <p:extLst>
              <p:ext uri="{D42A27DB-BD31-4B8C-83A1-F6EECF244321}">
                <p14:modId xmlns:p14="http://schemas.microsoft.com/office/powerpoint/2010/main" val="2410643868"/>
              </p:ext>
            </p:extLst>
          </p:nvPr>
        </p:nvGraphicFramePr>
        <p:xfrm>
          <a:off x="613304" y="1153604"/>
          <a:ext cx="5060558" cy="2443492"/>
        </p:xfrm>
        <a:graphic>
          <a:graphicData uri="http://schemas.openxmlformats.org/drawingml/2006/table">
            <a:tbl>
              <a:tblPr firstRow="1" bandRow="1"/>
              <a:tblGrid>
                <a:gridCol w="284664">
                  <a:extLst>
                    <a:ext uri="{9D8B030D-6E8A-4147-A177-3AD203B41FA5}">
                      <a16:colId xmlns:a16="http://schemas.microsoft.com/office/drawing/2014/main" val="20000"/>
                    </a:ext>
                  </a:extLst>
                </a:gridCol>
                <a:gridCol w="25400">
                  <a:extLst>
                    <a:ext uri="{9D8B030D-6E8A-4147-A177-3AD203B41FA5}">
                      <a16:colId xmlns:a16="http://schemas.microsoft.com/office/drawing/2014/main" val="684958050"/>
                    </a:ext>
                  </a:extLst>
                </a:gridCol>
                <a:gridCol w="4750494">
                  <a:extLst>
                    <a:ext uri="{9D8B030D-6E8A-4147-A177-3AD203B41FA5}">
                      <a16:colId xmlns:a16="http://schemas.microsoft.com/office/drawing/2014/main" val="20001"/>
                    </a:ext>
                  </a:extLst>
                </a:gridCol>
              </a:tblGrid>
              <a:tr h="610873">
                <a:tc>
                  <a:txBody>
                    <a:bodyPr/>
                    <a:lstStyle/>
                    <a:p>
                      <a:pPr algn="l"/>
                      <a:r>
                        <a:rPr lang="en-GB" sz="1400" b="1">
                          <a:solidFill>
                            <a:schemeClr val="tx1"/>
                          </a:solidFill>
                          <a:latin typeface="+mn-lt"/>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Guiding coali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5443706"/>
                  </a:ext>
                </a:extLst>
              </a:tr>
              <a:tr h="610873">
                <a:tc>
                  <a:txBody>
                    <a:bodyPr/>
                    <a:lstStyle/>
                    <a:p>
                      <a:pPr algn="l"/>
                      <a:r>
                        <a:rPr lang="en-GB" sz="1400" b="1">
                          <a:solidFill>
                            <a:schemeClr val="tx1"/>
                          </a:solidFill>
                          <a:latin typeface="+mn-lt"/>
                        </a:rPr>
                        <a:t>2.</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ta Governance Launch</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508461"/>
                  </a:ext>
                </a:extLst>
              </a:tr>
              <a:tr h="610873">
                <a:tc>
                  <a:txBody>
                    <a:bodyPr/>
                    <a:lstStyle/>
                    <a:p>
                      <a:pPr algn="l"/>
                      <a:r>
                        <a:rPr lang="en-GB" sz="1400" b="1">
                          <a:solidFill>
                            <a:schemeClr val="tx1"/>
                          </a:solidFill>
                          <a:latin typeface="+mn-lt"/>
                        </a:rPr>
                        <a:t>3.</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ta Strateg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1690626"/>
                  </a:ext>
                </a:extLst>
              </a:tr>
              <a:tr h="610873">
                <a:tc>
                  <a:txBody>
                    <a:bodyPr/>
                    <a:lstStyle/>
                    <a:p>
                      <a:pPr algn="l"/>
                      <a:r>
                        <a:rPr lang="en-GB" sz="1400" b="1">
                          <a:solidFill>
                            <a:schemeClr val="tx1"/>
                          </a:solidFill>
                          <a:latin typeface="+mn-lt"/>
                        </a:rPr>
                        <a:t>4.</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RAFT Suppor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37529"/>
                  </a:ext>
                </a:extLst>
              </a:tr>
            </a:tbl>
          </a:graphicData>
        </a:graphic>
      </p:graphicFrame>
      <p:sp>
        <p:nvSpPr>
          <p:cNvPr id="15" name="Title 5">
            <a:extLst>
              <a:ext uri="{FF2B5EF4-FFF2-40B4-BE49-F238E27FC236}">
                <a16:creationId xmlns:a16="http://schemas.microsoft.com/office/drawing/2014/main" id="{B1CDE43B-158F-4963-B653-3B629B728DFF}"/>
              </a:ext>
            </a:extLst>
          </p:cNvPr>
          <p:cNvSpPr txBox="1">
            <a:spLocks/>
          </p:cNvSpPr>
          <p:nvPr/>
        </p:nvSpPr>
        <p:spPr>
          <a:xfrm>
            <a:off x="611452" y="825959"/>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nl-NL" sz="2800" b="1" i="0" u="none" strike="noStrike" kern="1200" cap="none" spc="0" normalizeH="0" baseline="0" noProof="0">
                <a:ln>
                  <a:noFill/>
                </a:ln>
                <a:solidFill>
                  <a:srgbClr val="0069B4"/>
                </a:solidFill>
                <a:effectLst/>
                <a:uLnTx/>
                <a:uFillTx/>
                <a:latin typeface="Calibri" panose="020F0502020204030204"/>
                <a:ea typeface="+mj-ea"/>
                <a:cs typeface="+mj-cs"/>
              </a:rPr>
              <a:t>Content</a:t>
            </a:r>
          </a:p>
        </p:txBody>
      </p:sp>
    </p:spTree>
    <p:extLst>
      <p:ext uri="{BB962C8B-B14F-4D97-AF65-F5344CB8AC3E}">
        <p14:creationId xmlns:p14="http://schemas.microsoft.com/office/powerpoint/2010/main" val="982733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F9C485-3BFC-48A7-A4FC-045329D87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9F9C485-3BFC-48A7-A4FC-045329D872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0" name="Straight Connector 169">
            <a:extLst>
              <a:ext uri="{FF2B5EF4-FFF2-40B4-BE49-F238E27FC236}">
                <a16:creationId xmlns:a16="http://schemas.microsoft.com/office/drawing/2014/main" id="{A7D396B3-1145-4FC8-9334-22320BAF541E}"/>
              </a:ext>
            </a:extLst>
          </p:cNvPr>
          <p:cNvCxnSpPr>
            <a:cxnSpLocks/>
          </p:cNvCxnSpPr>
          <p:nvPr/>
        </p:nvCxnSpPr>
        <p:spPr>
          <a:xfrm flipH="1">
            <a:off x="6281388" y="2161599"/>
            <a:ext cx="2832" cy="4402426"/>
          </a:xfrm>
          <a:prstGeom prst="line">
            <a:avLst/>
          </a:prstGeom>
          <a:noFill/>
          <a:ln w="6350" cap="flat" cmpd="sng" algn="ctr">
            <a:solidFill>
              <a:srgbClr val="E7E6E6"/>
            </a:solidFill>
            <a:prstDash val="solid"/>
            <a:miter lim="800000"/>
          </a:ln>
          <a:effectLst/>
        </p:spPr>
      </p:cxnSp>
      <p:cxnSp>
        <p:nvCxnSpPr>
          <p:cNvPr id="91" name="Straight Connector 90">
            <a:extLst>
              <a:ext uri="{FF2B5EF4-FFF2-40B4-BE49-F238E27FC236}">
                <a16:creationId xmlns:a16="http://schemas.microsoft.com/office/drawing/2014/main" id="{EB4A44F1-F068-48F5-985E-CD2C17DF26FA}"/>
              </a:ext>
            </a:extLst>
          </p:cNvPr>
          <p:cNvCxnSpPr>
            <a:cxnSpLocks/>
          </p:cNvCxnSpPr>
          <p:nvPr/>
        </p:nvCxnSpPr>
        <p:spPr>
          <a:xfrm flipH="1">
            <a:off x="10570561" y="1910091"/>
            <a:ext cx="2832" cy="4402426"/>
          </a:xfrm>
          <a:prstGeom prst="line">
            <a:avLst/>
          </a:prstGeom>
          <a:noFill/>
          <a:ln w="6350" cap="flat" cmpd="sng" algn="ctr">
            <a:solidFill>
              <a:srgbClr val="E7E6E6"/>
            </a:solidFill>
            <a:prstDash val="solid"/>
            <a:miter lim="800000"/>
          </a:ln>
          <a:effectLst/>
        </p:spPr>
      </p:cxnSp>
      <p:cxnSp>
        <p:nvCxnSpPr>
          <p:cNvPr id="90" name="Straight Connector 89">
            <a:extLst>
              <a:ext uri="{FF2B5EF4-FFF2-40B4-BE49-F238E27FC236}">
                <a16:creationId xmlns:a16="http://schemas.microsoft.com/office/drawing/2014/main" id="{6F819872-2EFE-4ADC-B48B-CA41756F6FE5}"/>
              </a:ext>
            </a:extLst>
          </p:cNvPr>
          <p:cNvCxnSpPr>
            <a:cxnSpLocks/>
          </p:cNvCxnSpPr>
          <p:nvPr/>
        </p:nvCxnSpPr>
        <p:spPr>
          <a:xfrm flipH="1">
            <a:off x="9511722" y="1910091"/>
            <a:ext cx="2832" cy="4402426"/>
          </a:xfrm>
          <a:prstGeom prst="line">
            <a:avLst/>
          </a:prstGeom>
          <a:noFill/>
          <a:ln w="6350" cap="flat" cmpd="sng" algn="ctr">
            <a:solidFill>
              <a:srgbClr val="E7E6E6"/>
            </a:solidFill>
            <a:prstDash val="solid"/>
            <a:miter lim="800000"/>
          </a:ln>
          <a:effectLst/>
        </p:spPr>
      </p:cxnSp>
      <p:cxnSp>
        <p:nvCxnSpPr>
          <p:cNvPr id="89" name="Straight Connector 88">
            <a:extLst>
              <a:ext uri="{FF2B5EF4-FFF2-40B4-BE49-F238E27FC236}">
                <a16:creationId xmlns:a16="http://schemas.microsoft.com/office/drawing/2014/main" id="{66C5C066-955D-4F36-81D6-84ABC0D8E52C}"/>
              </a:ext>
            </a:extLst>
          </p:cNvPr>
          <p:cNvCxnSpPr>
            <a:cxnSpLocks/>
          </p:cNvCxnSpPr>
          <p:nvPr/>
        </p:nvCxnSpPr>
        <p:spPr>
          <a:xfrm flipH="1">
            <a:off x="8420048" y="1910091"/>
            <a:ext cx="2832" cy="4402426"/>
          </a:xfrm>
          <a:prstGeom prst="line">
            <a:avLst/>
          </a:prstGeom>
          <a:noFill/>
          <a:ln w="6350" cap="flat" cmpd="sng" algn="ctr">
            <a:solidFill>
              <a:srgbClr val="E7E6E6"/>
            </a:solidFill>
            <a:prstDash val="solid"/>
            <a:miter lim="800000"/>
          </a:ln>
          <a:effectLst/>
        </p:spPr>
      </p:cxnSp>
      <p:grpSp>
        <p:nvGrpSpPr>
          <p:cNvPr id="205" name="Group 204">
            <a:extLst>
              <a:ext uri="{FF2B5EF4-FFF2-40B4-BE49-F238E27FC236}">
                <a16:creationId xmlns:a16="http://schemas.microsoft.com/office/drawing/2014/main" id="{2E4B8C1F-49E9-4760-B6ED-0CD855DECD4C}"/>
              </a:ext>
            </a:extLst>
          </p:cNvPr>
          <p:cNvGrpSpPr/>
          <p:nvPr/>
        </p:nvGrpSpPr>
        <p:grpSpPr>
          <a:xfrm>
            <a:off x="6377321" y="5677910"/>
            <a:ext cx="5261464" cy="179233"/>
            <a:chOff x="7351139" y="4705753"/>
            <a:chExt cx="4256102" cy="180536"/>
          </a:xfrm>
        </p:grpSpPr>
        <p:grpSp>
          <p:nvGrpSpPr>
            <p:cNvPr id="206" name="Group 205">
              <a:extLst>
                <a:ext uri="{FF2B5EF4-FFF2-40B4-BE49-F238E27FC236}">
                  <a16:creationId xmlns:a16="http://schemas.microsoft.com/office/drawing/2014/main" id="{92C341BB-0354-4186-9E4B-A164AF933C28}"/>
                </a:ext>
              </a:extLst>
            </p:cNvPr>
            <p:cNvGrpSpPr/>
            <p:nvPr/>
          </p:nvGrpSpPr>
          <p:grpSpPr>
            <a:xfrm>
              <a:off x="10476777" y="4718139"/>
              <a:ext cx="1085529" cy="168150"/>
              <a:chOff x="10461746" y="5916428"/>
              <a:chExt cx="1085529" cy="168150"/>
            </a:xfrm>
          </p:grpSpPr>
          <p:cxnSp>
            <p:nvCxnSpPr>
              <p:cNvPr id="208" name="Straight Arrow Connector 207">
                <a:extLst>
                  <a:ext uri="{FF2B5EF4-FFF2-40B4-BE49-F238E27FC236}">
                    <a16:creationId xmlns:a16="http://schemas.microsoft.com/office/drawing/2014/main" id="{8CE3D8E8-7446-4696-8076-4DFD43FCF33A}"/>
                  </a:ext>
                </a:extLst>
              </p:cNvPr>
              <p:cNvCxnSpPr>
                <a:cxnSpLocks/>
              </p:cNvCxnSpPr>
              <p:nvPr/>
            </p:nvCxnSpPr>
            <p:spPr>
              <a:xfrm flipV="1">
                <a:off x="11210318" y="5996941"/>
                <a:ext cx="329302" cy="3562"/>
              </a:xfrm>
              <a:prstGeom prst="straightConnector1">
                <a:avLst/>
              </a:prstGeom>
              <a:noFill/>
              <a:ln w="6350" cap="flat" cmpd="sng" algn="ctr">
                <a:solidFill>
                  <a:schemeClr val="tx1"/>
                </a:solidFill>
                <a:prstDash val="solid"/>
                <a:miter lim="800000"/>
                <a:tailEnd type="triangle"/>
              </a:ln>
              <a:effectLst/>
            </p:spPr>
          </p:cxnSp>
          <p:sp>
            <p:nvSpPr>
              <p:cNvPr id="209" name="Rectangle 208">
                <a:extLst>
                  <a:ext uri="{FF2B5EF4-FFF2-40B4-BE49-F238E27FC236}">
                    <a16:creationId xmlns:a16="http://schemas.microsoft.com/office/drawing/2014/main" id="{42B36896-8F29-4BD6-8C56-E300AF47B6C7}"/>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Calibri" panose="020F0502020204030204"/>
                    <a:ea typeface="+mn-ea"/>
                    <a:cs typeface="+mn-cs"/>
                  </a:rPr>
                  <a:t>2023</a:t>
                </a:r>
              </a:p>
            </p:txBody>
          </p:sp>
        </p:grpSp>
        <p:sp>
          <p:nvSpPr>
            <p:cNvPr id="207" name="Rectangle 206">
              <a:extLst>
                <a:ext uri="{FF2B5EF4-FFF2-40B4-BE49-F238E27FC236}">
                  <a16:creationId xmlns:a16="http://schemas.microsoft.com/office/drawing/2014/main" id="{DCDB19DA-A104-4777-AD6A-407C7E034FE3}"/>
                </a:ext>
              </a:extLst>
            </p:cNvPr>
            <p:cNvSpPr/>
            <p:nvPr/>
          </p:nvSpPr>
          <p:spPr>
            <a:xfrm>
              <a:off x="7351139" y="4705753"/>
              <a:ext cx="4256102" cy="180000"/>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4</a:t>
              </a:r>
            </a:p>
          </p:txBody>
        </p:sp>
      </p:grpSp>
      <p:grpSp>
        <p:nvGrpSpPr>
          <p:cNvPr id="2" name="Group 1">
            <a:extLst>
              <a:ext uri="{FF2B5EF4-FFF2-40B4-BE49-F238E27FC236}">
                <a16:creationId xmlns:a16="http://schemas.microsoft.com/office/drawing/2014/main" id="{8C521864-F871-4320-8AD1-6B0AA58962A2}"/>
              </a:ext>
            </a:extLst>
          </p:cNvPr>
          <p:cNvGrpSpPr/>
          <p:nvPr/>
        </p:nvGrpSpPr>
        <p:grpSpPr>
          <a:xfrm>
            <a:off x="6235673" y="4705752"/>
            <a:ext cx="5403109" cy="180539"/>
            <a:chOff x="7351139" y="4705753"/>
            <a:chExt cx="4256102" cy="180536"/>
          </a:xfrm>
        </p:grpSpPr>
        <p:grpSp>
          <p:nvGrpSpPr>
            <p:cNvPr id="184" name="Group 183">
              <a:extLst>
                <a:ext uri="{FF2B5EF4-FFF2-40B4-BE49-F238E27FC236}">
                  <a16:creationId xmlns:a16="http://schemas.microsoft.com/office/drawing/2014/main" id="{3D011773-3236-4C66-B48D-8E7A1DC287AD}"/>
                </a:ext>
              </a:extLst>
            </p:cNvPr>
            <p:cNvGrpSpPr/>
            <p:nvPr/>
          </p:nvGrpSpPr>
          <p:grpSpPr>
            <a:xfrm>
              <a:off x="10476777" y="4718139"/>
              <a:ext cx="1085529" cy="168150"/>
              <a:chOff x="10461746" y="5916428"/>
              <a:chExt cx="1085529" cy="168150"/>
            </a:xfrm>
          </p:grpSpPr>
          <p:cxnSp>
            <p:nvCxnSpPr>
              <p:cNvPr id="185" name="Straight Arrow Connector 184">
                <a:extLst>
                  <a:ext uri="{FF2B5EF4-FFF2-40B4-BE49-F238E27FC236}">
                    <a16:creationId xmlns:a16="http://schemas.microsoft.com/office/drawing/2014/main" id="{060D20CB-0AEF-426E-9C11-79541FE03D1B}"/>
                  </a:ext>
                </a:extLst>
              </p:cNvPr>
              <p:cNvCxnSpPr>
                <a:cxnSpLocks/>
              </p:cNvCxnSpPr>
              <p:nvPr/>
            </p:nvCxnSpPr>
            <p:spPr>
              <a:xfrm flipV="1">
                <a:off x="11210318" y="5996941"/>
                <a:ext cx="329302" cy="3562"/>
              </a:xfrm>
              <a:prstGeom prst="straightConnector1">
                <a:avLst/>
              </a:prstGeom>
              <a:noFill/>
              <a:ln w="6350" cap="flat" cmpd="sng" algn="ctr">
                <a:solidFill>
                  <a:schemeClr val="tx1"/>
                </a:solidFill>
                <a:prstDash val="solid"/>
                <a:miter lim="800000"/>
                <a:tailEnd type="triangle"/>
              </a:ln>
              <a:effectLst/>
            </p:spPr>
          </p:cxnSp>
          <p:sp>
            <p:nvSpPr>
              <p:cNvPr id="186" name="Rectangle 185">
                <a:extLst>
                  <a:ext uri="{FF2B5EF4-FFF2-40B4-BE49-F238E27FC236}">
                    <a16:creationId xmlns:a16="http://schemas.microsoft.com/office/drawing/2014/main" id="{8C502311-3193-4BAA-932F-0EDDE87524CD}"/>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Calibri" panose="020F0502020204030204"/>
                    <a:ea typeface="+mn-ea"/>
                    <a:cs typeface="+mn-cs"/>
                  </a:rPr>
                  <a:t>2023</a:t>
                </a:r>
              </a:p>
            </p:txBody>
          </p:sp>
        </p:grpSp>
        <p:sp>
          <p:nvSpPr>
            <p:cNvPr id="188" name="Rectangle 187">
              <a:extLst>
                <a:ext uri="{FF2B5EF4-FFF2-40B4-BE49-F238E27FC236}">
                  <a16:creationId xmlns:a16="http://schemas.microsoft.com/office/drawing/2014/main" id="{BD2317C9-87BA-4D59-9FAE-52DAD0DC9553}"/>
                </a:ext>
              </a:extLst>
            </p:cNvPr>
            <p:cNvSpPr/>
            <p:nvPr/>
          </p:nvSpPr>
          <p:spPr>
            <a:xfrm>
              <a:off x="7351139" y="4705753"/>
              <a:ext cx="4256102" cy="180000"/>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grpSp>
      <p:sp>
        <p:nvSpPr>
          <p:cNvPr id="85" name="Rectangle 84">
            <a:extLst>
              <a:ext uri="{FF2B5EF4-FFF2-40B4-BE49-F238E27FC236}">
                <a16:creationId xmlns:a16="http://schemas.microsoft.com/office/drawing/2014/main" id="{D978C9CD-2759-4583-B1F1-5F862F6A576A}"/>
              </a:ext>
            </a:extLst>
          </p:cNvPr>
          <p:cNvSpPr/>
          <p:nvPr/>
        </p:nvSpPr>
        <p:spPr>
          <a:xfrm>
            <a:off x="1895936" y="2025623"/>
            <a:ext cx="2226626" cy="798208"/>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 </a:t>
            </a:r>
          </a:p>
        </p:txBody>
      </p:sp>
      <p:cxnSp>
        <p:nvCxnSpPr>
          <p:cNvPr id="86" name="Straight Connector 85">
            <a:extLst>
              <a:ext uri="{FF2B5EF4-FFF2-40B4-BE49-F238E27FC236}">
                <a16:creationId xmlns:a16="http://schemas.microsoft.com/office/drawing/2014/main" id="{C37C34DD-FD11-4171-A4BA-4E8816C9457F}"/>
              </a:ext>
            </a:extLst>
          </p:cNvPr>
          <p:cNvCxnSpPr>
            <a:cxnSpLocks/>
            <a:stCxn id="113" idx="1"/>
          </p:cNvCxnSpPr>
          <p:nvPr/>
        </p:nvCxnSpPr>
        <p:spPr>
          <a:xfrm flipH="1">
            <a:off x="6281388" y="1910091"/>
            <a:ext cx="2832" cy="4402426"/>
          </a:xfrm>
          <a:prstGeom prst="line">
            <a:avLst/>
          </a:prstGeom>
          <a:noFill/>
          <a:ln w="6350" cap="flat" cmpd="sng" algn="ctr">
            <a:solidFill>
              <a:srgbClr val="E7E6E6"/>
            </a:solidFill>
            <a:prstDash val="solid"/>
            <a:miter lim="800000"/>
          </a:ln>
          <a:effectLst/>
        </p:spPr>
      </p:cxnSp>
      <p:cxnSp>
        <p:nvCxnSpPr>
          <p:cNvPr id="87" name="Straight Connector 86">
            <a:extLst>
              <a:ext uri="{FF2B5EF4-FFF2-40B4-BE49-F238E27FC236}">
                <a16:creationId xmlns:a16="http://schemas.microsoft.com/office/drawing/2014/main" id="{F7070DA2-622B-4695-A050-895FE2F41659}"/>
              </a:ext>
            </a:extLst>
          </p:cNvPr>
          <p:cNvCxnSpPr>
            <a:cxnSpLocks/>
          </p:cNvCxnSpPr>
          <p:nvPr/>
        </p:nvCxnSpPr>
        <p:spPr>
          <a:xfrm flipH="1">
            <a:off x="5201878" y="1910091"/>
            <a:ext cx="2832" cy="4402426"/>
          </a:xfrm>
          <a:prstGeom prst="line">
            <a:avLst/>
          </a:prstGeom>
          <a:noFill/>
          <a:ln w="6350" cap="flat" cmpd="sng" algn="ctr">
            <a:solidFill>
              <a:srgbClr val="E7E6E6"/>
            </a:solidFill>
            <a:prstDash val="solid"/>
            <a:miter lim="800000"/>
          </a:ln>
          <a:effectLst/>
        </p:spPr>
      </p:cxnSp>
      <p:cxnSp>
        <p:nvCxnSpPr>
          <p:cNvPr id="88" name="Straight Connector 87">
            <a:extLst>
              <a:ext uri="{FF2B5EF4-FFF2-40B4-BE49-F238E27FC236}">
                <a16:creationId xmlns:a16="http://schemas.microsoft.com/office/drawing/2014/main" id="{A5F2F4A6-DA72-4861-A4DB-8398273BECEC}"/>
              </a:ext>
            </a:extLst>
          </p:cNvPr>
          <p:cNvCxnSpPr>
            <a:cxnSpLocks/>
          </p:cNvCxnSpPr>
          <p:nvPr/>
        </p:nvCxnSpPr>
        <p:spPr>
          <a:xfrm flipH="1">
            <a:off x="7344212" y="1910091"/>
            <a:ext cx="2832" cy="4402426"/>
          </a:xfrm>
          <a:prstGeom prst="line">
            <a:avLst/>
          </a:prstGeom>
          <a:noFill/>
          <a:ln w="6350" cap="flat" cmpd="sng" algn="ctr">
            <a:solidFill>
              <a:srgbClr val="E7E6E6"/>
            </a:solidFill>
            <a:prstDash val="solid"/>
            <a:miter lim="800000"/>
          </a:ln>
          <a:effectLst/>
        </p:spPr>
      </p:cxnSp>
      <p:sp>
        <p:nvSpPr>
          <p:cNvPr id="92" name="TextBox 91">
            <a:extLst>
              <a:ext uri="{FF2B5EF4-FFF2-40B4-BE49-F238E27FC236}">
                <a16:creationId xmlns:a16="http://schemas.microsoft.com/office/drawing/2014/main" id="{7F66FFDA-072B-4FF8-AD27-4CE22B87A772}"/>
              </a:ext>
            </a:extLst>
          </p:cNvPr>
          <p:cNvSpPr txBox="1"/>
          <p:nvPr/>
        </p:nvSpPr>
        <p:spPr>
          <a:xfrm rot="16200000">
            <a:off x="99406" y="3326483"/>
            <a:ext cx="1184542"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2</a:t>
            </a:r>
          </a:p>
        </p:txBody>
      </p:sp>
      <p:sp>
        <p:nvSpPr>
          <p:cNvPr id="93" name="TextBox 92">
            <a:extLst>
              <a:ext uri="{FF2B5EF4-FFF2-40B4-BE49-F238E27FC236}">
                <a16:creationId xmlns:a16="http://schemas.microsoft.com/office/drawing/2014/main" id="{F4CD10DE-8D18-4A23-8D9B-8FB10DD99754}"/>
              </a:ext>
            </a:extLst>
          </p:cNvPr>
          <p:cNvSpPr txBox="1"/>
          <p:nvPr/>
        </p:nvSpPr>
        <p:spPr>
          <a:xfrm>
            <a:off x="868331" y="2321674"/>
            <a:ext cx="1005345" cy="307777"/>
          </a:xfrm>
          <a:prstGeom prst="rect">
            <a:avLst/>
          </a:prstGeom>
          <a:noFill/>
        </p:spPr>
        <p:txBody>
          <a:bodyPr wrap="square" lIns="0" tIns="0" rIns="0" bIns="0">
            <a:spAutoFit/>
          </a:bodyPr>
          <a:lstStyle/>
          <a:p>
            <a:pPr marL="0" marR="0" lvl="0" indent="0" algn="l" defTabSz="91338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Calibri" panose="020F0502020204030204"/>
                <a:ea typeface="+mn-ea"/>
                <a:cs typeface="+mn-cs"/>
              </a:rPr>
              <a:t>Data Management (DM) </a:t>
            </a: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artifacts</a:t>
            </a:r>
          </a:p>
        </p:txBody>
      </p:sp>
      <p:sp>
        <p:nvSpPr>
          <p:cNvPr id="94" name="Rectangle 56">
            <a:extLst>
              <a:ext uri="{FF2B5EF4-FFF2-40B4-BE49-F238E27FC236}">
                <a16:creationId xmlns:a16="http://schemas.microsoft.com/office/drawing/2014/main" id="{DC510072-BB32-4648-9B86-7138A31F5C18}"/>
              </a:ext>
            </a:extLst>
          </p:cNvPr>
          <p:cNvSpPr/>
          <p:nvPr/>
        </p:nvSpPr>
        <p:spPr>
          <a:xfrm>
            <a:off x="576262" y="1522326"/>
            <a:ext cx="1308100" cy="492638"/>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Use Cases</a:t>
            </a:r>
          </a:p>
        </p:txBody>
      </p:sp>
      <p:sp>
        <p:nvSpPr>
          <p:cNvPr id="95" name="Rectangle 56">
            <a:extLst>
              <a:ext uri="{FF2B5EF4-FFF2-40B4-BE49-F238E27FC236}">
                <a16:creationId xmlns:a16="http://schemas.microsoft.com/office/drawing/2014/main" id="{45CD01A5-BB48-4B90-8A49-A75157EB8E77}"/>
              </a:ext>
            </a:extLst>
          </p:cNvPr>
          <p:cNvSpPr/>
          <p:nvPr/>
        </p:nvSpPr>
        <p:spPr>
          <a:xfrm>
            <a:off x="1901122" y="1523268"/>
            <a:ext cx="2221440" cy="491696"/>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Key Activities</a:t>
            </a:r>
          </a:p>
        </p:txBody>
      </p:sp>
      <p:sp>
        <p:nvSpPr>
          <p:cNvPr id="96" name="Rectangle 56">
            <a:extLst>
              <a:ext uri="{FF2B5EF4-FFF2-40B4-BE49-F238E27FC236}">
                <a16:creationId xmlns:a16="http://schemas.microsoft.com/office/drawing/2014/main" id="{806F4F55-44F5-4104-8C47-75CEF4EB5C3A}"/>
              </a:ext>
            </a:extLst>
          </p:cNvPr>
          <p:cNvSpPr/>
          <p:nvPr/>
        </p:nvSpPr>
        <p:spPr>
          <a:xfrm>
            <a:off x="4130944" y="1522327"/>
            <a:ext cx="1066339" cy="284400"/>
          </a:xfrm>
          <a:prstGeom prst="rect">
            <a:avLst/>
          </a:prstGeom>
          <a:solidFill>
            <a:srgbClr val="001F5B"/>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2-2022</a:t>
            </a:r>
          </a:p>
        </p:txBody>
      </p:sp>
      <p:sp>
        <p:nvSpPr>
          <p:cNvPr id="97" name="Rectangle 56">
            <a:extLst>
              <a:ext uri="{FF2B5EF4-FFF2-40B4-BE49-F238E27FC236}">
                <a16:creationId xmlns:a16="http://schemas.microsoft.com/office/drawing/2014/main" id="{30FFC12B-2D5D-4E06-83A6-B92DE1A49DC6}"/>
              </a:ext>
            </a:extLst>
          </p:cNvPr>
          <p:cNvSpPr/>
          <p:nvPr/>
        </p:nvSpPr>
        <p:spPr>
          <a:xfrm>
            <a:off x="5206166" y="1522327"/>
            <a:ext cx="1066339" cy="284400"/>
          </a:xfrm>
          <a:prstGeom prst="rect">
            <a:avLst/>
          </a:prstGeom>
          <a:solidFill>
            <a:srgbClr val="001F5B"/>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3-2022</a:t>
            </a:r>
          </a:p>
        </p:txBody>
      </p:sp>
      <p:sp>
        <p:nvSpPr>
          <p:cNvPr id="98" name="Rectangle 56">
            <a:extLst>
              <a:ext uri="{FF2B5EF4-FFF2-40B4-BE49-F238E27FC236}">
                <a16:creationId xmlns:a16="http://schemas.microsoft.com/office/drawing/2014/main" id="{73388569-0A85-413C-B4EF-E2E36AD05378}"/>
              </a:ext>
            </a:extLst>
          </p:cNvPr>
          <p:cNvSpPr/>
          <p:nvPr/>
        </p:nvSpPr>
        <p:spPr>
          <a:xfrm>
            <a:off x="7356610"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1-2023</a:t>
            </a:r>
          </a:p>
        </p:txBody>
      </p:sp>
      <p:sp>
        <p:nvSpPr>
          <p:cNvPr id="99" name="Rectangle 56">
            <a:extLst>
              <a:ext uri="{FF2B5EF4-FFF2-40B4-BE49-F238E27FC236}">
                <a16:creationId xmlns:a16="http://schemas.microsoft.com/office/drawing/2014/main" id="{C3264866-2995-46CD-B913-01748CA2F6D9}"/>
              </a:ext>
            </a:extLst>
          </p:cNvPr>
          <p:cNvSpPr/>
          <p:nvPr/>
        </p:nvSpPr>
        <p:spPr>
          <a:xfrm>
            <a:off x="8431832"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2-2023</a:t>
            </a:r>
          </a:p>
        </p:txBody>
      </p:sp>
      <p:sp>
        <p:nvSpPr>
          <p:cNvPr id="100" name="Rectangle 56">
            <a:extLst>
              <a:ext uri="{FF2B5EF4-FFF2-40B4-BE49-F238E27FC236}">
                <a16:creationId xmlns:a16="http://schemas.microsoft.com/office/drawing/2014/main" id="{6B10BE2A-8CFB-4CEB-84D1-7ED1A30BFB71}"/>
              </a:ext>
            </a:extLst>
          </p:cNvPr>
          <p:cNvSpPr/>
          <p:nvPr/>
        </p:nvSpPr>
        <p:spPr>
          <a:xfrm>
            <a:off x="6281388" y="1522327"/>
            <a:ext cx="1066339" cy="284400"/>
          </a:xfrm>
          <a:prstGeom prst="rect">
            <a:avLst/>
          </a:prstGeom>
          <a:solidFill>
            <a:srgbClr val="001F5B"/>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4-2022</a:t>
            </a:r>
          </a:p>
        </p:txBody>
      </p:sp>
      <p:sp>
        <p:nvSpPr>
          <p:cNvPr id="101" name="Rectangle 56">
            <a:extLst>
              <a:ext uri="{FF2B5EF4-FFF2-40B4-BE49-F238E27FC236}">
                <a16:creationId xmlns:a16="http://schemas.microsoft.com/office/drawing/2014/main" id="{7C9E776D-AC93-473F-B118-0268B4D865EF}"/>
              </a:ext>
            </a:extLst>
          </p:cNvPr>
          <p:cNvSpPr/>
          <p:nvPr/>
        </p:nvSpPr>
        <p:spPr>
          <a:xfrm>
            <a:off x="9507054"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3-2023</a:t>
            </a:r>
          </a:p>
        </p:txBody>
      </p:sp>
      <p:sp>
        <p:nvSpPr>
          <p:cNvPr id="102" name="Rectangle 56">
            <a:extLst>
              <a:ext uri="{FF2B5EF4-FFF2-40B4-BE49-F238E27FC236}">
                <a16:creationId xmlns:a16="http://schemas.microsoft.com/office/drawing/2014/main" id="{8DEB1AF8-B608-4B3B-B9F5-62D58E92D3A1}"/>
              </a:ext>
            </a:extLst>
          </p:cNvPr>
          <p:cNvSpPr/>
          <p:nvPr/>
        </p:nvSpPr>
        <p:spPr>
          <a:xfrm>
            <a:off x="10582275"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4-2023</a:t>
            </a:r>
          </a:p>
        </p:txBody>
      </p:sp>
      <p:sp>
        <p:nvSpPr>
          <p:cNvPr id="103" name="TextBox 102">
            <a:extLst>
              <a:ext uri="{FF2B5EF4-FFF2-40B4-BE49-F238E27FC236}">
                <a16:creationId xmlns:a16="http://schemas.microsoft.com/office/drawing/2014/main" id="{64DDD5B4-8D92-4BC1-8150-E285F716DE8D}"/>
              </a:ext>
            </a:extLst>
          </p:cNvPr>
          <p:cNvSpPr txBox="1"/>
          <p:nvPr/>
        </p:nvSpPr>
        <p:spPr>
          <a:xfrm rot="16200000">
            <a:off x="294175" y="2310911"/>
            <a:ext cx="795005"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1</a:t>
            </a:r>
          </a:p>
        </p:txBody>
      </p:sp>
      <p:sp>
        <p:nvSpPr>
          <p:cNvPr id="104" name="TextBox 103">
            <a:extLst>
              <a:ext uri="{FF2B5EF4-FFF2-40B4-BE49-F238E27FC236}">
                <a16:creationId xmlns:a16="http://schemas.microsoft.com/office/drawing/2014/main" id="{797D7E29-7A67-4C3D-AEB6-00E20ED3C2C3}"/>
              </a:ext>
            </a:extLst>
          </p:cNvPr>
          <p:cNvSpPr txBox="1"/>
          <p:nvPr/>
        </p:nvSpPr>
        <p:spPr>
          <a:xfrm>
            <a:off x="876833" y="3335941"/>
            <a:ext cx="1005345"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Update current processes </a:t>
            </a:r>
          </a:p>
        </p:txBody>
      </p:sp>
      <p:sp>
        <p:nvSpPr>
          <p:cNvPr id="105" name="TextBox 104">
            <a:extLst>
              <a:ext uri="{FF2B5EF4-FFF2-40B4-BE49-F238E27FC236}">
                <a16:creationId xmlns:a16="http://schemas.microsoft.com/office/drawing/2014/main" id="{A3EEE0D1-0E9B-4B58-A541-F805C4733FBC}"/>
              </a:ext>
            </a:extLst>
          </p:cNvPr>
          <p:cNvSpPr txBox="1"/>
          <p:nvPr/>
        </p:nvSpPr>
        <p:spPr>
          <a:xfrm>
            <a:off x="886220" y="4312456"/>
            <a:ext cx="969568" cy="461665"/>
          </a:xfrm>
          <a:prstGeom prst="rect">
            <a:avLst/>
          </a:prstGeom>
          <a:noFill/>
        </p:spPr>
        <p:txBody>
          <a:bodyPr wrap="square" lIns="0" tIns="0" rIns="0" bIns="0">
            <a:spAutoFit/>
          </a:bodyPr>
          <a:lstStyle/>
          <a:p>
            <a:pPr marL="0" marR="0" lvl="0" indent="0" algn="l" defTabSz="91338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Calibri" panose="020F0502020204030204"/>
                <a:ea typeface="+mn-ea"/>
                <a:cs typeface="+mn-cs"/>
              </a:rPr>
              <a:t>Aligning governance and support </a:t>
            </a: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processes</a:t>
            </a:r>
          </a:p>
        </p:txBody>
      </p:sp>
      <p:sp>
        <p:nvSpPr>
          <p:cNvPr id="106" name="TextBox 105">
            <a:extLst>
              <a:ext uri="{FF2B5EF4-FFF2-40B4-BE49-F238E27FC236}">
                <a16:creationId xmlns:a16="http://schemas.microsoft.com/office/drawing/2014/main" id="{5F656731-8DFF-451F-8382-BC3D343BAB51}"/>
              </a:ext>
            </a:extLst>
          </p:cNvPr>
          <p:cNvSpPr txBox="1"/>
          <p:nvPr/>
        </p:nvSpPr>
        <p:spPr>
          <a:xfrm rot="16200000">
            <a:off x="230874" y="4405355"/>
            <a:ext cx="921607"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3</a:t>
            </a:r>
          </a:p>
        </p:txBody>
      </p:sp>
      <p:sp>
        <p:nvSpPr>
          <p:cNvPr id="107" name="Rectangle 56">
            <a:extLst>
              <a:ext uri="{FF2B5EF4-FFF2-40B4-BE49-F238E27FC236}">
                <a16:creationId xmlns:a16="http://schemas.microsoft.com/office/drawing/2014/main" id="{10FC6B49-A57E-4A30-94B2-38EAD52D454B}"/>
              </a:ext>
            </a:extLst>
          </p:cNvPr>
          <p:cNvSpPr/>
          <p:nvPr/>
        </p:nvSpPr>
        <p:spPr>
          <a:xfrm>
            <a:off x="4132548"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pr</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ectangle 56">
            <a:extLst>
              <a:ext uri="{FF2B5EF4-FFF2-40B4-BE49-F238E27FC236}">
                <a16:creationId xmlns:a16="http://schemas.microsoft.com/office/drawing/2014/main" id="{3834120F-3D78-4066-B4C4-8C2A64CCC19C}"/>
              </a:ext>
            </a:extLst>
          </p:cNvPr>
          <p:cNvSpPr/>
          <p:nvPr/>
        </p:nvSpPr>
        <p:spPr>
          <a:xfrm>
            <a:off x="4491160"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May</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ectangle 56">
            <a:extLst>
              <a:ext uri="{FF2B5EF4-FFF2-40B4-BE49-F238E27FC236}">
                <a16:creationId xmlns:a16="http://schemas.microsoft.com/office/drawing/2014/main" id="{3BB5FDD8-3DE5-4352-A6C4-466CEB6A1AC3}"/>
              </a:ext>
            </a:extLst>
          </p:cNvPr>
          <p:cNvSpPr/>
          <p:nvPr/>
        </p:nvSpPr>
        <p:spPr>
          <a:xfrm>
            <a:off x="4849772"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n</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ectangle 56">
            <a:extLst>
              <a:ext uri="{FF2B5EF4-FFF2-40B4-BE49-F238E27FC236}">
                <a16:creationId xmlns:a16="http://schemas.microsoft.com/office/drawing/2014/main" id="{C424EC67-397F-4360-BB6F-675DCAE8EFC1}"/>
              </a:ext>
            </a:extLst>
          </p:cNvPr>
          <p:cNvSpPr/>
          <p:nvPr/>
        </p:nvSpPr>
        <p:spPr>
          <a:xfrm>
            <a:off x="5208384"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l</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56">
            <a:extLst>
              <a:ext uri="{FF2B5EF4-FFF2-40B4-BE49-F238E27FC236}">
                <a16:creationId xmlns:a16="http://schemas.microsoft.com/office/drawing/2014/main" id="{62C6A691-F044-47B8-A541-131F054F19FF}"/>
              </a:ext>
            </a:extLst>
          </p:cNvPr>
          <p:cNvSpPr/>
          <p:nvPr/>
        </p:nvSpPr>
        <p:spPr>
          <a:xfrm>
            <a:off x="5566996"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ug</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Rectangle 56">
            <a:extLst>
              <a:ext uri="{FF2B5EF4-FFF2-40B4-BE49-F238E27FC236}">
                <a16:creationId xmlns:a16="http://schemas.microsoft.com/office/drawing/2014/main" id="{45BF13DC-8B6E-4336-AE0C-7E4A08733E01}"/>
              </a:ext>
            </a:extLst>
          </p:cNvPr>
          <p:cNvSpPr/>
          <p:nvPr/>
        </p:nvSpPr>
        <p:spPr>
          <a:xfrm>
            <a:off x="5925608"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Sep</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ectangle 56">
            <a:extLst>
              <a:ext uri="{FF2B5EF4-FFF2-40B4-BE49-F238E27FC236}">
                <a16:creationId xmlns:a16="http://schemas.microsoft.com/office/drawing/2014/main" id="{4049C14C-7855-4C79-8986-3DD9D1D5CE82}"/>
              </a:ext>
            </a:extLst>
          </p:cNvPr>
          <p:cNvSpPr/>
          <p:nvPr/>
        </p:nvSpPr>
        <p:spPr>
          <a:xfrm>
            <a:off x="6284220"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Oct</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56">
            <a:extLst>
              <a:ext uri="{FF2B5EF4-FFF2-40B4-BE49-F238E27FC236}">
                <a16:creationId xmlns:a16="http://schemas.microsoft.com/office/drawing/2014/main" id="{C916DB43-0151-4E0B-BCE1-D4B42EBD81B4}"/>
              </a:ext>
            </a:extLst>
          </p:cNvPr>
          <p:cNvSpPr/>
          <p:nvPr/>
        </p:nvSpPr>
        <p:spPr>
          <a:xfrm>
            <a:off x="6642832"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Nov</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Rectangle 56">
            <a:extLst>
              <a:ext uri="{FF2B5EF4-FFF2-40B4-BE49-F238E27FC236}">
                <a16:creationId xmlns:a16="http://schemas.microsoft.com/office/drawing/2014/main" id="{B7044210-ECFF-44DF-ACA9-44E83092FC3C}"/>
              </a:ext>
            </a:extLst>
          </p:cNvPr>
          <p:cNvSpPr/>
          <p:nvPr/>
        </p:nvSpPr>
        <p:spPr>
          <a:xfrm>
            <a:off x="7001444"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Dec</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Rectangle 56">
            <a:extLst>
              <a:ext uri="{FF2B5EF4-FFF2-40B4-BE49-F238E27FC236}">
                <a16:creationId xmlns:a16="http://schemas.microsoft.com/office/drawing/2014/main" id="{EE9587D1-A803-4431-B3BF-0EB8931D804A}"/>
              </a:ext>
            </a:extLst>
          </p:cNvPr>
          <p:cNvSpPr/>
          <p:nvPr/>
        </p:nvSpPr>
        <p:spPr>
          <a:xfrm>
            <a:off x="7360056"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an</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Rectangle 56">
            <a:extLst>
              <a:ext uri="{FF2B5EF4-FFF2-40B4-BE49-F238E27FC236}">
                <a16:creationId xmlns:a16="http://schemas.microsoft.com/office/drawing/2014/main" id="{7173E837-F442-47F0-A9F5-B96D678A45FB}"/>
              </a:ext>
            </a:extLst>
          </p:cNvPr>
          <p:cNvSpPr/>
          <p:nvPr/>
        </p:nvSpPr>
        <p:spPr>
          <a:xfrm>
            <a:off x="7718668"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Feb</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Rectangle 56">
            <a:extLst>
              <a:ext uri="{FF2B5EF4-FFF2-40B4-BE49-F238E27FC236}">
                <a16:creationId xmlns:a16="http://schemas.microsoft.com/office/drawing/2014/main" id="{E15D7A5D-B216-47D2-96B2-73BDEFF0E279}"/>
              </a:ext>
            </a:extLst>
          </p:cNvPr>
          <p:cNvSpPr/>
          <p:nvPr/>
        </p:nvSpPr>
        <p:spPr>
          <a:xfrm>
            <a:off x="8077280"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Mar</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Rectangle 56">
            <a:extLst>
              <a:ext uri="{FF2B5EF4-FFF2-40B4-BE49-F238E27FC236}">
                <a16:creationId xmlns:a16="http://schemas.microsoft.com/office/drawing/2014/main" id="{2A393E7E-C57B-4042-A6A4-AF51A3B6C7FF}"/>
              </a:ext>
            </a:extLst>
          </p:cNvPr>
          <p:cNvSpPr/>
          <p:nvPr/>
        </p:nvSpPr>
        <p:spPr>
          <a:xfrm>
            <a:off x="8435892"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pr</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Rectangle 56">
            <a:extLst>
              <a:ext uri="{FF2B5EF4-FFF2-40B4-BE49-F238E27FC236}">
                <a16:creationId xmlns:a16="http://schemas.microsoft.com/office/drawing/2014/main" id="{F8192ABA-78D6-4C54-BE72-FB49A044592B}"/>
              </a:ext>
            </a:extLst>
          </p:cNvPr>
          <p:cNvSpPr/>
          <p:nvPr/>
        </p:nvSpPr>
        <p:spPr>
          <a:xfrm>
            <a:off x="8794504"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May</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Rectangle 56">
            <a:extLst>
              <a:ext uri="{FF2B5EF4-FFF2-40B4-BE49-F238E27FC236}">
                <a16:creationId xmlns:a16="http://schemas.microsoft.com/office/drawing/2014/main" id="{A220B00F-D247-4408-9075-CFCFB00D27B8}"/>
              </a:ext>
            </a:extLst>
          </p:cNvPr>
          <p:cNvSpPr/>
          <p:nvPr/>
        </p:nvSpPr>
        <p:spPr>
          <a:xfrm>
            <a:off x="9153116"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n</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Rectangle 56">
            <a:extLst>
              <a:ext uri="{FF2B5EF4-FFF2-40B4-BE49-F238E27FC236}">
                <a16:creationId xmlns:a16="http://schemas.microsoft.com/office/drawing/2014/main" id="{61EFB647-3079-4D87-8448-607055A5F784}"/>
              </a:ext>
            </a:extLst>
          </p:cNvPr>
          <p:cNvSpPr/>
          <p:nvPr/>
        </p:nvSpPr>
        <p:spPr>
          <a:xfrm>
            <a:off x="9511728"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l</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Rectangle 56">
            <a:extLst>
              <a:ext uri="{FF2B5EF4-FFF2-40B4-BE49-F238E27FC236}">
                <a16:creationId xmlns:a16="http://schemas.microsoft.com/office/drawing/2014/main" id="{CC396EFF-BC3D-4DCA-A308-47A741E833AE}"/>
              </a:ext>
            </a:extLst>
          </p:cNvPr>
          <p:cNvSpPr/>
          <p:nvPr/>
        </p:nvSpPr>
        <p:spPr>
          <a:xfrm>
            <a:off x="9870340"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ug</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Rectangle 56">
            <a:extLst>
              <a:ext uri="{FF2B5EF4-FFF2-40B4-BE49-F238E27FC236}">
                <a16:creationId xmlns:a16="http://schemas.microsoft.com/office/drawing/2014/main" id="{2EC49C9B-0BD0-45B9-B8AB-810E669ADB13}"/>
              </a:ext>
            </a:extLst>
          </p:cNvPr>
          <p:cNvSpPr/>
          <p:nvPr/>
        </p:nvSpPr>
        <p:spPr>
          <a:xfrm>
            <a:off x="10228952"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Sep</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56">
            <a:extLst>
              <a:ext uri="{FF2B5EF4-FFF2-40B4-BE49-F238E27FC236}">
                <a16:creationId xmlns:a16="http://schemas.microsoft.com/office/drawing/2014/main" id="{57145B13-7954-4EFC-9F5D-5E7A2D0E81E3}"/>
              </a:ext>
            </a:extLst>
          </p:cNvPr>
          <p:cNvSpPr/>
          <p:nvPr/>
        </p:nvSpPr>
        <p:spPr>
          <a:xfrm>
            <a:off x="10587564"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Oct</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Rectangle 56">
            <a:extLst>
              <a:ext uri="{FF2B5EF4-FFF2-40B4-BE49-F238E27FC236}">
                <a16:creationId xmlns:a16="http://schemas.microsoft.com/office/drawing/2014/main" id="{AF259DF1-60AB-40C8-8AAA-62C30A1DCF97}"/>
              </a:ext>
            </a:extLst>
          </p:cNvPr>
          <p:cNvSpPr/>
          <p:nvPr/>
        </p:nvSpPr>
        <p:spPr>
          <a:xfrm>
            <a:off x="10946176"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Nov</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Rectangle 56">
            <a:extLst>
              <a:ext uri="{FF2B5EF4-FFF2-40B4-BE49-F238E27FC236}">
                <a16:creationId xmlns:a16="http://schemas.microsoft.com/office/drawing/2014/main" id="{98C183E2-A1AA-452B-9E3D-403C43ABABC3}"/>
              </a:ext>
            </a:extLst>
          </p:cNvPr>
          <p:cNvSpPr/>
          <p:nvPr/>
        </p:nvSpPr>
        <p:spPr>
          <a:xfrm>
            <a:off x="11304782" y="1820091"/>
            <a:ext cx="3420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Dec</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TextBox 127">
            <a:extLst>
              <a:ext uri="{FF2B5EF4-FFF2-40B4-BE49-F238E27FC236}">
                <a16:creationId xmlns:a16="http://schemas.microsoft.com/office/drawing/2014/main" id="{E8030426-8539-4178-8127-B318EE63203D}"/>
              </a:ext>
            </a:extLst>
          </p:cNvPr>
          <p:cNvSpPr txBox="1"/>
          <p:nvPr/>
        </p:nvSpPr>
        <p:spPr>
          <a:xfrm>
            <a:off x="886219" y="5527287"/>
            <a:ext cx="1005345"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Re-launch Data Governance</a:t>
            </a:r>
          </a:p>
        </p:txBody>
      </p:sp>
      <p:sp>
        <p:nvSpPr>
          <p:cNvPr id="129" name="TextBox 128">
            <a:extLst>
              <a:ext uri="{FF2B5EF4-FFF2-40B4-BE49-F238E27FC236}">
                <a16:creationId xmlns:a16="http://schemas.microsoft.com/office/drawing/2014/main" id="{83A3C664-CC8A-491B-9283-DB25C0E4DE2B}"/>
              </a:ext>
            </a:extLst>
          </p:cNvPr>
          <p:cNvSpPr txBox="1"/>
          <p:nvPr/>
        </p:nvSpPr>
        <p:spPr>
          <a:xfrm rot="16200000">
            <a:off x="20653" y="5565759"/>
            <a:ext cx="1342050"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4</a:t>
            </a:r>
          </a:p>
        </p:txBody>
      </p:sp>
      <p:grpSp>
        <p:nvGrpSpPr>
          <p:cNvPr id="130" name="Group 129">
            <a:extLst>
              <a:ext uri="{FF2B5EF4-FFF2-40B4-BE49-F238E27FC236}">
                <a16:creationId xmlns:a16="http://schemas.microsoft.com/office/drawing/2014/main" id="{6D0644F1-7038-4EC1-8201-D5BD97C5D93A}"/>
              </a:ext>
            </a:extLst>
          </p:cNvPr>
          <p:cNvGrpSpPr/>
          <p:nvPr/>
        </p:nvGrpSpPr>
        <p:grpSpPr>
          <a:xfrm>
            <a:off x="576262" y="545483"/>
            <a:ext cx="11052001" cy="871704"/>
            <a:chOff x="576262" y="545483"/>
            <a:chExt cx="11052001" cy="871704"/>
          </a:xfrm>
        </p:grpSpPr>
        <p:sp>
          <p:nvSpPr>
            <p:cNvPr id="131" name="TextBox 29">
              <a:extLst>
                <a:ext uri="{FF2B5EF4-FFF2-40B4-BE49-F238E27FC236}">
                  <a16:creationId xmlns:a16="http://schemas.microsoft.com/office/drawing/2014/main" id="{70C3567C-ADA1-4E2B-817B-A9428F8FE0C8}"/>
                </a:ext>
              </a:extLst>
            </p:cNvPr>
            <p:cNvSpPr txBox="1"/>
            <p:nvPr/>
          </p:nvSpPr>
          <p:spPr>
            <a:xfrm>
              <a:off x="576262" y="1019046"/>
              <a:ext cx="2632527" cy="398141"/>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0" cap="all" spc="60" normalizeH="0" baseline="0" noProof="0">
                  <a:ln>
                    <a:noFill/>
                  </a:ln>
                  <a:solidFill>
                    <a:srgbClr val="4472C4"/>
                  </a:solidFill>
                  <a:effectLst/>
                  <a:uLnTx/>
                  <a:uFillTx/>
                  <a:latin typeface="Calibri Light" panose="020F0302020204030204"/>
                  <a:ea typeface="+mn-ea"/>
                  <a:cs typeface="+mn-cs"/>
                </a:rPr>
                <a:t>USE CASE OWNER: Lance Cameron</a:t>
              </a:r>
            </a:p>
          </p:txBody>
        </p:sp>
        <p:grpSp>
          <p:nvGrpSpPr>
            <p:cNvPr id="132" name="Group 131">
              <a:extLst>
                <a:ext uri="{FF2B5EF4-FFF2-40B4-BE49-F238E27FC236}">
                  <a16:creationId xmlns:a16="http://schemas.microsoft.com/office/drawing/2014/main" id="{DC14A915-A172-49AF-9FDD-1453DAC241F7}"/>
                </a:ext>
              </a:extLst>
            </p:cNvPr>
            <p:cNvGrpSpPr/>
            <p:nvPr/>
          </p:nvGrpSpPr>
          <p:grpSpPr>
            <a:xfrm>
              <a:off x="576262" y="545483"/>
              <a:ext cx="11052001" cy="740263"/>
              <a:chOff x="576262" y="545483"/>
              <a:chExt cx="11052001" cy="740263"/>
            </a:xfrm>
          </p:grpSpPr>
          <p:sp>
            <p:nvSpPr>
              <p:cNvPr id="133" name="TextBox 29">
                <a:extLst>
                  <a:ext uri="{FF2B5EF4-FFF2-40B4-BE49-F238E27FC236}">
                    <a16:creationId xmlns:a16="http://schemas.microsoft.com/office/drawing/2014/main" id="{17428D05-8E3E-4329-B4CE-B620878D1BA5}"/>
                  </a:ext>
                </a:extLst>
              </p:cNvPr>
              <p:cNvSpPr txBox="1"/>
              <p:nvPr/>
            </p:nvSpPr>
            <p:spPr>
              <a:xfrm>
                <a:off x="576262" y="545483"/>
                <a:ext cx="11052000" cy="454705"/>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0" cap="all" spc="60" normalizeH="0" baseline="0" noProof="0">
                    <a:ln>
                      <a:noFill/>
                    </a:ln>
                    <a:solidFill>
                      <a:prstClr val="black"/>
                    </a:solidFill>
                    <a:effectLst/>
                    <a:uLnTx/>
                    <a:uFillTx/>
                    <a:latin typeface="Calibri Light" panose="020F0302020204030204"/>
                    <a:ea typeface="+mn-ea"/>
                    <a:cs typeface="+mn-cs"/>
                  </a:rPr>
                  <a:t>STRATEGIC DATA OBJECTIVE #1: </a:t>
                </a:r>
                <a:r>
                  <a:rPr kumimoji="0" lang="en-US" sz="1200" b="0" i="0" u="none" strike="noStrike" kern="0" cap="all" spc="60" normalizeH="0" baseline="0" noProof="0">
                    <a:ln>
                      <a:noFill/>
                    </a:ln>
                    <a:solidFill>
                      <a:prstClr val="black"/>
                    </a:solidFill>
                    <a:effectLst/>
                    <a:uLnTx/>
                    <a:uFillTx/>
                    <a:latin typeface="Calibri Light" panose="020F0302020204030204"/>
                    <a:ea typeface="+mn-ea"/>
                    <a:cs typeface="+mn-cs"/>
                  </a:rPr>
                  <a:t>Improving Data Governance and integrating Data Management into our business for ensuring regulatory compliance and easy/timely access to data</a:t>
                </a:r>
              </a:p>
              <a:p>
                <a:pPr marL="0" marR="0" lvl="0" indent="0" algn="l" defTabSz="913943" rtl="0" eaLnBrk="1" fontAlgn="auto" latinLnBrk="0" hangingPunct="1">
                  <a:lnSpc>
                    <a:spcPct val="130000"/>
                  </a:lnSpc>
                  <a:spcBef>
                    <a:spcPts val="0"/>
                  </a:spcBef>
                  <a:spcAft>
                    <a:spcPts val="0"/>
                  </a:spcAft>
                  <a:buClrTx/>
                  <a:buSzTx/>
                  <a:buFontTx/>
                  <a:buNone/>
                  <a:tabLst/>
                  <a:defRPr/>
                </a:pPr>
                <a:br>
                  <a:rPr kumimoji="0" lang="en-US" sz="1200" b="0" i="0" u="none" strike="noStrike" kern="0" cap="all" spc="60" normalizeH="0" baseline="0" noProof="0">
                    <a:ln>
                      <a:noFill/>
                    </a:ln>
                    <a:solidFill>
                      <a:srgbClr val="001F5B"/>
                    </a:solidFill>
                    <a:effectLst/>
                    <a:uLnTx/>
                    <a:uFillTx/>
                    <a:latin typeface="Calibri Light" panose="020F0302020204030204"/>
                    <a:ea typeface="+mn-ea"/>
                    <a:cs typeface="+mn-cs"/>
                  </a:rPr>
                </a:br>
                <a:r>
                  <a:rPr kumimoji="0" lang="en-US" sz="1200" b="0" i="0" u="none" strike="noStrike" kern="0" cap="none" spc="0" normalizeH="0" baseline="0" noProof="0">
                    <a:ln>
                      <a:noFill/>
                    </a:ln>
                    <a:solidFill>
                      <a:srgbClr val="001F5B"/>
                    </a:solidFill>
                    <a:effectLst/>
                    <a:uLnTx/>
                    <a:uFillTx/>
                    <a:latin typeface="Calibri Light" panose="020F0302020204030204"/>
                    <a:ea typeface="+mn-ea"/>
                    <a:cs typeface="+mn-cs"/>
                  </a:rPr>
                  <a:t>  </a:t>
                </a:r>
              </a:p>
            </p:txBody>
          </p:sp>
          <p:cxnSp>
            <p:nvCxnSpPr>
              <p:cNvPr id="134" name="Straight Connector 133">
                <a:extLst>
                  <a:ext uri="{FF2B5EF4-FFF2-40B4-BE49-F238E27FC236}">
                    <a16:creationId xmlns:a16="http://schemas.microsoft.com/office/drawing/2014/main" id="{6BEDC26A-3E44-4515-956A-2208CBCAA0EF}"/>
                  </a:ext>
                </a:extLst>
              </p:cNvPr>
              <p:cNvCxnSpPr>
                <a:cxnSpLocks/>
              </p:cNvCxnSpPr>
              <p:nvPr/>
            </p:nvCxnSpPr>
            <p:spPr>
              <a:xfrm>
                <a:off x="576263" y="1285746"/>
                <a:ext cx="11052000" cy="0"/>
              </a:xfrm>
              <a:prstGeom prst="line">
                <a:avLst/>
              </a:prstGeom>
              <a:noFill/>
              <a:ln w="19050" cap="flat" cmpd="sng" algn="ctr">
                <a:solidFill>
                  <a:srgbClr val="4472C4"/>
                </a:solidFill>
                <a:prstDash val="solid"/>
                <a:miter lim="800000"/>
              </a:ln>
              <a:effectLst/>
            </p:spPr>
          </p:cxnSp>
        </p:grpSp>
      </p:grpSp>
      <p:sp>
        <p:nvSpPr>
          <p:cNvPr id="135" name="Rectangle 134">
            <a:extLst>
              <a:ext uri="{FF2B5EF4-FFF2-40B4-BE49-F238E27FC236}">
                <a16:creationId xmlns:a16="http://schemas.microsoft.com/office/drawing/2014/main" id="{F2C37027-3470-44A7-99AA-498A3628DDDD}"/>
              </a:ext>
            </a:extLst>
          </p:cNvPr>
          <p:cNvSpPr/>
          <p:nvPr/>
        </p:nvSpPr>
        <p:spPr>
          <a:xfrm>
            <a:off x="5033553" y="2028825"/>
            <a:ext cx="268423"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36" name="Rectangle 135">
            <a:extLst>
              <a:ext uri="{FF2B5EF4-FFF2-40B4-BE49-F238E27FC236}">
                <a16:creationId xmlns:a16="http://schemas.microsoft.com/office/drawing/2014/main" id="{3AD5EBAD-B60F-4033-BB90-548D7FCD55D4}"/>
              </a:ext>
            </a:extLst>
          </p:cNvPr>
          <p:cNvSpPr/>
          <p:nvPr/>
        </p:nvSpPr>
        <p:spPr>
          <a:xfrm>
            <a:off x="5206166" y="2237555"/>
            <a:ext cx="212925"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37" name="Rectangle 136">
            <a:extLst>
              <a:ext uri="{FF2B5EF4-FFF2-40B4-BE49-F238E27FC236}">
                <a16:creationId xmlns:a16="http://schemas.microsoft.com/office/drawing/2014/main" id="{FB760F17-3997-45D6-93D0-464AA538FB20}"/>
              </a:ext>
            </a:extLst>
          </p:cNvPr>
          <p:cNvSpPr/>
          <p:nvPr/>
        </p:nvSpPr>
        <p:spPr>
          <a:xfrm>
            <a:off x="5334726" y="2539453"/>
            <a:ext cx="212925"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138" name="Rectangle 137">
            <a:extLst>
              <a:ext uri="{FF2B5EF4-FFF2-40B4-BE49-F238E27FC236}">
                <a16:creationId xmlns:a16="http://schemas.microsoft.com/office/drawing/2014/main" id="{90EB791A-9063-409C-9207-495FC0939992}"/>
              </a:ext>
            </a:extLst>
          </p:cNvPr>
          <p:cNvSpPr/>
          <p:nvPr/>
        </p:nvSpPr>
        <p:spPr>
          <a:xfrm>
            <a:off x="4765130" y="5010150"/>
            <a:ext cx="268423"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39" name="Rectangle 138">
            <a:extLst>
              <a:ext uri="{FF2B5EF4-FFF2-40B4-BE49-F238E27FC236}">
                <a16:creationId xmlns:a16="http://schemas.microsoft.com/office/drawing/2014/main" id="{38374920-A585-4DEC-A37F-D76A1CDC7C21}"/>
              </a:ext>
            </a:extLst>
          </p:cNvPr>
          <p:cNvSpPr/>
          <p:nvPr/>
        </p:nvSpPr>
        <p:spPr>
          <a:xfrm>
            <a:off x="5565608" y="2823830"/>
            <a:ext cx="3600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40" name="Rectangle 139">
            <a:extLst>
              <a:ext uri="{FF2B5EF4-FFF2-40B4-BE49-F238E27FC236}">
                <a16:creationId xmlns:a16="http://schemas.microsoft.com/office/drawing/2014/main" id="{6F025AAB-1D06-42EE-BE2B-C1AC7CC5CB1F}"/>
              </a:ext>
            </a:extLst>
          </p:cNvPr>
          <p:cNvSpPr/>
          <p:nvPr/>
        </p:nvSpPr>
        <p:spPr>
          <a:xfrm>
            <a:off x="6271208" y="3156531"/>
            <a:ext cx="1082570" cy="17941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41" name="Rectangle 140">
            <a:extLst>
              <a:ext uri="{FF2B5EF4-FFF2-40B4-BE49-F238E27FC236}">
                <a16:creationId xmlns:a16="http://schemas.microsoft.com/office/drawing/2014/main" id="{F83E246A-04F2-4821-BCDB-C72FA87CDE14}"/>
              </a:ext>
            </a:extLst>
          </p:cNvPr>
          <p:cNvSpPr/>
          <p:nvPr/>
        </p:nvSpPr>
        <p:spPr>
          <a:xfrm>
            <a:off x="5376658" y="3429418"/>
            <a:ext cx="716510"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142" name="Rectangle 141">
            <a:extLst>
              <a:ext uri="{FF2B5EF4-FFF2-40B4-BE49-F238E27FC236}">
                <a16:creationId xmlns:a16="http://schemas.microsoft.com/office/drawing/2014/main" id="{3EA69D2C-4DBB-4203-900B-4D313D238FEB}"/>
              </a:ext>
            </a:extLst>
          </p:cNvPr>
          <p:cNvSpPr/>
          <p:nvPr/>
        </p:nvSpPr>
        <p:spPr>
          <a:xfrm>
            <a:off x="6755386" y="3780877"/>
            <a:ext cx="212925"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4</a:t>
            </a:r>
          </a:p>
        </p:txBody>
      </p:sp>
      <p:sp>
        <p:nvSpPr>
          <p:cNvPr id="143" name="Rectangle 142">
            <a:extLst>
              <a:ext uri="{FF2B5EF4-FFF2-40B4-BE49-F238E27FC236}">
                <a16:creationId xmlns:a16="http://schemas.microsoft.com/office/drawing/2014/main" id="{0D347F16-8B59-42B1-AD92-4E076E435398}"/>
              </a:ext>
            </a:extLst>
          </p:cNvPr>
          <p:cNvSpPr/>
          <p:nvPr/>
        </p:nvSpPr>
        <p:spPr>
          <a:xfrm>
            <a:off x="6267710" y="4061151"/>
            <a:ext cx="3456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44" name="Rectangle 143">
            <a:extLst>
              <a:ext uri="{FF2B5EF4-FFF2-40B4-BE49-F238E27FC236}">
                <a16:creationId xmlns:a16="http://schemas.microsoft.com/office/drawing/2014/main" id="{BDEEA98A-42E1-4ADB-8D00-F9B06D879A7C}"/>
              </a:ext>
            </a:extLst>
          </p:cNvPr>
          <p:cNvSpPr/>
          <p:nvPr/>
        </p:nvSpPr>
        <p:spPr>
          <a:xfrm>
            <a:off x="6610973" y="4312381"/>
            <a:ext cx="3456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46" name="Rectangle 145">
            <a:extLst>
              <a:ext uri="{FF2B5EF4-FFF2-40B4-BE49-F238E27FC236}">
                <a16:creationId xmlns:a16="http://schemas.microsoft.com/office/drawing/2014/main" id="{CECCA152-D785-448F-8721-5C5F8BE48A72}"/>
              </a:ext>
            </a:extLst>
          </p:cNvPr>
          <p:cNvSpPr/>
          <p:nvPr/>
        </p:nvSpPr>
        <p:spPr>
          <a:xfrm>
            <a:off x="6093168" y="5186836"/>
            <a:ext cx="268423"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47" name="Rectangle 146">
            <a:extLst>
              <a:ext uri="{FF2B5EF4-FFF2-40B4-BE49-F238E27FC236}">
                <a16:creationId xmlns:a16="http://schemas.microsoft.com/office/drawing/2014/main" id="{53A893C9-DB41-433F-A24B-3C23731637CD}"/>
              </a:ext>
            </a:extLst>
          </p:cNvPr>
          <p:cNvSpPr/>
          <p:nvPr/>
        </p:nvSpPr>
        <p:spPr>
          <a:xfrm>
            <a:off x="6345778" y="5437289"/>
            <a:ext cx="1008000"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154" name="Rectangle 153">
            <a:extLst>
              <a:ext uri="{FF2B5EF4-FFF2-40B4-BE49-F238E27FC236}">
                <a16:creationId xmlns:a16="http://schemas.microsoft.com/office/drawing/2014/main" id="{9424ECAC-7EC2-493A-AE20-84AAC2F58291}"/>
              </a:ext>
            </a:extLst>
          </p:cNvPr>
          <p:cNvSpPr/>
          <p:nvPr/>
        </p:nvSpPr>
        <p:spPr>
          <a:xfrm>
            <a:off x="1895184" y="2849628"/>
            <a:ext cx="2227378" cy="1184542"/>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03A5CE12-DEEF-44F7-A29F-CC31A18D521A}"/>
              </a:ext>
            </a:extLst>
          </p:cNvPr>
          <p:cNvSpPr/>
          <p:nvPr/>
        </p:nvSpPr>
        <p:spPr>
          <a:xfrm>
            <a:off x="1901122" y="4059967"/>
            <a:ext cx="2221440" cy="931342"/>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52104287-C2D5-447D-9165-7F48A12B64E9}"/>
              </a:ext>
            </a:extLst>
          </p:cNvPr>
          <p:cNvSpPr/>
          <p:nvPr/>
        </p:nvSpPr>
        <p:spPr>
          <a:xfrm>
            <a:off x="1898070" y="5017106"/>
            <a:ext cx="2224492" cy="1335094"/>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57" name="Table 5">
            <a:extLst>
              <a:ext uri="{FF2B5EF4-FFF2-40B4-BE49-F238E27FC236}">
                <a16:creationId xmlns:a16="http://schemas.microsoft.com/office/drawing/2014/main" id="{9F6093F8-700E-4BD5-8356-DF3A0AB0B626}"/>
              </a:ext>
            </a:extLst>
          </p:cNvPr>
          <p:cNvGraphicFramePr>
            <a:graphicFrameLocks noGrp="1"/>
          </p:cNvGraphicFramePr>
          <p:nvPr>
            <p:extLst>
              <p:ext uri="{D42A27DB-BD31-4B8C-83A1-F6EECF244321}">
                <p14:modId xmlns:p14="http://schemas.microsoft.com/office/powerpoint/2010/main" val="330523037"/>
              </p:ext>
            </p:extLst>
          </p:nvPr>
        </p:nvGraphicFramePr>
        <p:xfrm>
          <a:off x="1931252" y="2025623"/>
          <a:ext cx="2249771" cy="4343400"/>
        </p:xfrm>
        <a:graphic>
          <a:graphicData uri="http://schemas.openxmlformats.org/drawingml/2006/table">
            <a:tbl>
              <a:tblPr firstRow="1" bandRow="1"/>
              <a:tblGrid>
                <a:gridCol w="208280">
                  <a:extLst>
                    <a:ext uri="{9D8B030D-6E8A-4147-A177-3AD203B41FA5}">
                      <a16:colId xmlns:a16="http://schemas.microsoft.com/office/drawing/2014/main" val="1717011062"/>
                    </a:ext>
                  </a:extLst>
                </a:gridCol>
                <a:gridCol w="2041491">
                  <a:extLst>
                    <a:ext uri="{9D8B030D-6E8A-4147-A177-3AD203B41FA5}">
                      <a16:colId xmlns:a16="http://schemas.microsoft.com/office/drawing/2014/main" val="3540057775"/>
                    </a:ext>
                  </a:extLst>
                </a:gridCol>
              </a:tblGrid>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900" b="0" u="none" strike="noStrike" kern="1200" cap="none" spc="0" normalizeH="0" baseline="0" noProof="0">
                          <a:ln>
                            <a:noFill/>
                          </a:ln>
                          <a:solidFill>
                            <a:schemeClr val="tx1"/>
                          </a:solidFill>
                          <a:effectLst/>
                          <a:uLnTx/>
                          <a:uFillTx/>
                        </a:rPr>
                        <a:t>1</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ct val="0"/>
                        </a:spcBef>
                        <a:spcAft>
                          <a:spcPts val="0"/>
                        </a:spcAft>
                        <a:buClrTx/>
                        <a:buSzTx/>
                        <a:buFont typeface="+mj-lt"/>
                        <a:buNone/>
                        <a:tabLst/>
                        <a:defRPr/>
                      </a:pPr>
                      <a:r>
                        <a:rPr kumimoji="0" lang="en-US" sz="900" b="0" u="none" strike="noStrike" kern="1200" cap="none" spc="0" normalizeH="0" baseline="0" noProof="0">
                          <a:ln>
                            <a:noFill/>
                          </a:ln>
                          <a:solidFill>
                            <a:schemeClr val="tx1"/>
                          </a:solidFill>
                          <a:effectLst/>
                          <a:uLnTx/>
                          <a:uFillTx/>
                        </a:rPr>
                        <a:t>Assess current documentation</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232429184"/>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Review existing data model(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877248337"/>
                  </a:ext>
                </a:extLst>
              </a:tr>
              <a:tr h="36378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ssess current Data Management tooling</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90949231"/>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1</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Update or create DG Charter</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05045112"/>
                  </a:ext>
                </a:extLst>
              </a:tr>
              <a:tr h="36378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900" noProof="0"/>
                        <a:t>Update or create DM Policies and Standard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855415596"/>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Update or create Data Domain Model</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82517761"/>
                  </a:ext>
                </a:extLst>
              </a:tr>
              <a:tr h="36378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4</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Collect al DM documentation in a central location</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83543135"/>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1</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ssess current documentation</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18717978"/>
                  </a:ext>
                </a:extLst>
              </a:tr>
              <a:tr h="36378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 </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Embed DM Doc elements in department</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71279260"/>
                  </a:ext>
                </a:extLst>
              </a:tr>
              <a:tr h="36378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Organize ongoing alignment in data government council</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196165769"/>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1</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Initiate Guiding Coalition</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586027968"/>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ssign DG role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92878971"/>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DG councils/ forums determined</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16524812"/>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4</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DG training</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68073275"/>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5</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Communication plan</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75615470"/>
                  </a:ext>
                </a:extLst>
              </a:tr>
              <a:tr h="227368">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6 </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Kick-off Data Governance processe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81043249"/>
                  </a:ext>
                </a:extLst>
              </a:tr>
            </a:tbl>
          </a:graphicData>
        </a:graphic>
      </p:graphicFrame>
      <p:grpSp>
        <p:nvGrpSpPr>
          <p:cNvPr id="158" name="Group 157">
            <a:extLst>
              <a:ext uri="{FF2B5EF4-FFF2-40B4-BE49-F238E27FC236}">
                <a16:creationId xmlns:a16="http://schemas.microsoft.com/office/drawing/2014/main" id="{A3FEFAD0-40FF-462D-8B27-02A5833A4803}"/>
              </a:ext>
            </a:extLst>
          </p:cNvPr>
          <p:cNvGrpSpPr/>
          <p:nvPr/>
        </p:nvGrpSpPr>
        <p:grpSpPr>
          <a:xfrm>
            <a:off x="4147395" y="1310456"/>
            <a:ext cx="3191152" cy="188149"/>
            <a:chOff x="2765118" y="972660"/>
            <a:chExt cx="5076000" cy="188149"/>
          </a:xfrm>
        </p:grpSpPr>
        <p:cxnSp>
          <p:nvCxnSpPr>
            <p:cNvPr id="159" name="Straight Connector 158">
              <a:extLst>
                <a:ext uri="{FF2B5EF4-FFF2-40B4-BE49-F238E27FC236}">
                  <a16:creationId xmlns:a16="http://schemas.microsoft.com/office/drawing/2014/main" id="{986FA3FF-BBBC-4DE9-B844-D576DB19BE1E}"/>
                </a:ext>
              </a:extLst>
            </p:cNvPr>
            <p:cNvCxnSpPr>
              <a:cxnSpLocks/>
            </p:cNvCxnSpPr>
            <p:nvPr/>
          </p:nvCxnSpPr>
          <p:spPr>
            <a:xfrm>
              <a:off x="2765118" y="1098908"/>
              <a:ext cx="5076000" cy="0"/>
            </a:xfrm>
            <a:prstGeom prst="line">
              <a:avLst/>
            </a:prstGeom>
            <a:noFill/>
            <a:ln w="15875" cap="flat" cmpd="sng" algn="ctr">
              <a:solidFill>
                <a:srgbClr val="001F5B"/>
              </a:solidFill>
              <a:prstDash val="solid"/>
              <a:miter lim="800000"/>
              <a:tailEnd type="none"/>
            </a:ln>
            <a:effectLst/>
          </p:spPr>
        </p:cxnSp>
        <p:sp>
          <p:nvSpPr>
            <p:cNvPr id="160" name="Rectangle 159">
              <a:extLst>
                <a:ext uri="{FF2B5EF4-FFF2-40B4-BE49-F238E27FC236}">
                  <a16:creationId xmlns:a16="http://schemas.microsoft.com/office/drawing/2014/main" id="{A6C63096-EBE3-4DBB-A0AA-A36BE3BF51B1}"/>
                </a:ext>
              </a:extLst>
            </p:cNvPr>
            <p:cNvSpPr/>
            <p:nvPr/>
          </p:nvSpPr>
          <p:spPr>
            <a:xfrm>
              <a:off x="4720992" y="972660"/>
              <a:ext cx="1398624" cy="188149"/>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1F5B"/>
                  </a:solidFill>
                  <a:effectLst/>
                  <a:uLnTx/>
                  <a:uFillTx/>
                  <a:latin typeface="Corbel"/>
                  <a:ea typeface="+mn-ea"/>
                  <a:cs typeface="Myriad Pro"/>
                </a:rPr>
                <a:t>Short term</a:t>
              </a:r>
            </a:p>
          </p:txBody>
        </p:sp>
      </p:grpSp>
      <p:grpSp>
        <p:nvGrpSpPr>
          <p:cNvPr id="161" name="Group 160">
            <a:extLst>
              <a:ext uri="{FF2B5EF4-FFF2-40B4-BE49-F238E27FC236}">
                <a16:creationId xmlns:a16="http://schemas.microsoft.com/office/drawing/2014/main" id="{705AB23F-2E48-450F-BBE3-1ED991EEBDE0}"/>
              </a:ext>
            </a:extLst>
          </p:cNvPr>
          <p:cNvGrpSpPr/>
          <p:nvPr/>
        </p:nvGrpSpPr>
        <p:grpSpPr>
          <a:xfrm>
            <a:off x="7379344" y="1321225"/>
            <a:ext cx="4248920" cy="171455"/>
            <a:chOff x="8001000" y="978209"/>
            <a:chExt cx="2470389" cy="171455"/>
          </a:xfrm>
        </p:grpSpPr>
        <p:cxnSp>
          <p:nvCxnSpPr>
            <p:cNvPr id="162" name="Straight Connector 161">
              <a:extLst>
                <a:ext uri="{FF2B5EF4-FFF2-40B4-BE49-F238E27FC236}">
                  <a16:creationId xmlns:a16="http://schemas.microsoft.com/office/drawing/2014/main" id="{014D5445-B21B-4909-83A1-C0A8BE1E4154}"/>
                </a:ext>
              </a:extLst>
            </p:cNvPr>
            <p:cNvCxnSpPr>
              <a:cxnSpLocks/>
            </p:cNvCxnSpPr>
            <p:nvPr/>
          </p:nvCxnSpPr>
          <p:spPr>
            <a:xfrm flipV="1">
              <a:off x="8001000" y="1093688"/>
              <a:ext cx="2470389" cy="5220"/>
            </a:xfrm>
            <a:prstGeom prst="line">
              <a:avLst/>
            </a:prstGeom>
            <a:noFill/>
            <a:ln w="15875" cap="flat" cmpd="sng" algn="ctr">
              <a:solidFill>
                <a:srgbClr val="70AD47"/>
              </a:solidFill>
              <a:prstDash val="solid"/>
              <a:miter lim="800000"/>
              <a:tailEnd type="none"/>
            </a:ln>
            <a:effectLst/>
          </p:spPr>
        </p:cxnSp>
        <p:sp>
          <p:nvSpPr>
            <p:cNvPr id="163" name="Rectangle 162">
              <a:extLst>
                <a:ext uri="{FF2B5EF4-FFF2-40B4-BE49-F238E27FC236}">
                  <a16:creationId xmlns:a16="http://schemas.microsoft.com/office/drawing/2014/main" id="{27FCBF85-21ED-4D38-AD8E-286E29CFEC87}"/>
                </a:ext>
              </a:extLst>
            </p:cNvPr>
            <p:cNvSpPr/>
            <p:nvPr/>
          </p:nvSpPr>
          <p:spPr>
            <a:xfrm>
              <a:off x="8934107" y="978209"/>
              <a:ext cx="617394" cy="171455"/>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72BF00"/>
                  </a:solidFill>
                  <a:effectLst/>
                  <a:uLnTx/>
                  <a:uFillTx/>
                  <a:latin typeface="Corbel"/>
                  <a:ea typeface="+mn-ea"/>
                  <a:cs typeface="Myriad Pro"/>
                </a:rPr>
                <a:t>Medium term</a:t>
              </a:r>
            </a:p>
          </p:txBody>
        </p:sp>
      </p:grpSp>
      <p:cxnSp>
        <p:nvCxnSpPr>
          <p:cNvPr id="164" name="Straight Connector 163">
            <a:extLst>
              <a:ext uri="{FF2B5EF4-FFF2-40B4-BE49-F238E27FC236}">
                <a16:creationId xmlns:a16="http://schemas.microsoft.com/office/drawing/2014/main" id="{C998CF67-7FA0-43D5-862B-D4C1935D2C76}"/>
              </a:ext>
            </a:extLst>
          </p:cNvPr>
          <p:cNvCxnSpPr>
            <a:cxnSpLocks/>
          </p:cNvCxnSpPr>
          <p:nvPr/>
        </p:nvCxnSpPr>
        <p:spPr>
          <a:xfrm>
            <a:off x="11304782" y="2123770"/>
            <a:ext cx="323480" cy="0"/>
          </a:xfrm>
          <a:prstGeom prst="line">
            <a:avLst/>
          </a:prstGeom>
          <a:noFill/>
          <a:ln w="15875" cap="flat" cmpd="sng" algn="ctr">
            <a:solidFill>
              <a:sysClr val="window" lastClr="FFFFFF">
                <a:lumMod val="65000"/>
              </a:sysClr>
            </a:solidFill>
            <a:prstDash val="solid"/>
            <a:miter lim="800000"/>
            <a:tailEnd type="triangle"/>
          </a:ln>
          <a:effectLst/>
        </p:spPr>
      </p:cxnSp>
      <p:sp>
        <p:nvSpPr>
          <p:cNvPr id="165" name="Rectangle 164">
            <a:extLst>
              <a:ext uri="{FF2B5EF4-FFF2-40B4-BE49-F238E27FC236}">
                <a16:creationId xmlns:a16="http://schemas.microsoft.com/office/drawing/2014/main" id="{5CA2BE00-F67E-4A82-901B-734CF7C3C87C}"/>
              </a:ext>
            </a:extLst>
          </p:cNvPr>
          <p:cNvSpPr/>
          <p:nvPr/>
        </p:nvSpPr>
        <p:spPr>
          <a:xfrm>
            <a:off x="10588717" y="1999597"/>
            <a:ext cx="704079" cy="209224"/>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lumMod val="65000"/>
                  </a:prstClr>
                </a:solidFill>
                <a:effectLst/>
                <a:uLnTx/>
                <a:uFillTx/>
                <a:latin typeface="Corbel"/>
                <a:ea typeface="+mn-ea"/>
                <a:cs typeface="Myriad Pro"/>
              </a:rPr>
              <a:t>Long term</a:t>
            </a:r>
          </a:p>
        </p:txBody>
      </p:sp>
      <p:sp>
        <p:nvSpPr>
          <p:cNvPr id="187" name="Rectangle 186">
            <a:extLst>
              <a:ext uri="{FF2B5EF4-FFF2-40B4-BE49-F238E27FC236}">
                <a16:creationId xmlns:a16="http://schemas.microsoft.com/office/drawing/2014/main" id="{28063D89-07B2-4895-8813-809989DFE95F}"/>
              </a:ext>
            </a:extLst>
          </p:cNvPr>
          <p:cNvSpPr/>
          <p:nvPr/>
        </p:nvSpPr>
        <p:spPr>
          <a:xfrm>
            <a:off x="6204132" y="4706292"/>
            <a:ext cx="1149645"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9" name="Rectangle 188">
            <a:extLst>
              <a:ext uri="{FF2B5EF4-FFF2-40B4-BE49-F238E27FC236}">
                <a16:creationId xmlns:a16="http://schemas.microsoft.com/office/drawing/2014/main" id="{1D4C5014-5445-4E6A-96F1-8A356D2D495F}"/>
              </a:ext>
            </a:extLst>
          </p:cNvPr>
          <p:cNvSpPr/>
          <p:nvPr/>
        </p:nvSpPr>
        <p:spPr>
          <a:xfrm>
            <a:off x="6345778" y="5677230"/>
            <a:ext cx="1008000"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4D6CEFF0-8916-4FB0-9A42-F3E66582E40B}"/>
              </a:ext>
            </a:extLst>
          </p:cNvPr>
          <p:cNvSpPr/>
          <p:nvPr/>
        </p:nvSpPr>
        <p:spPr>
          <a:xfrm>
            <a:off x="6316979" y="5928102"/>
            <a:ext cx="5321803" cy="17870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5</a:t>
            </a:r>
          </a:p>
        </p:txBody>
      </p:sp>
      <p:grpSp>
        <p:nvGrpSpPr>
          <p:cNvPr id="10" name="Group 9">
            <a:extLst>
              <a:ext uri="{FF2B5EF4-FFF2-40B4-BE49-F238E27FC236}">
                <a16:creationId xmlns:a16="http://schemas.microsoft.com/office/drawing/2014/main" id="{9F7F6DD9-6540-43F9-837E-62300B8BAD82}"/>
              </a:ext>
            </a:extLst>
          </p:cNvPr>
          <p:cNvGrpSpPr/>
          <p:nvPr/>
        </p:nvGrpSpPr>
        <p:grpSpPr>
          <a:xfrm>
            <a:off x="10476777" y="5924274"/>
            <a:ext cx="1085529" cy="168150"/>
            <a:chOff x="10476777" y="5924274"/>
            <a:chExt cx="1085529" cy="168150"/>
          </a:xfrm>
        </p:grpSpPr>
        <p:cxnSp>
          <p:nvCxnSpPr>
            <p:cNvPr id="192" name="Straight Arrow Connector 191">
              <a:extLst>
                <a:ext uri="{FF2B5EF4-FFF2-40B4-BE49-F238E27FC236}">
                  <a16:creationId xmlns:a16="http://schemas.microsoft.com/office/drawing/2014/main" id="{FCD2664A-840B-4972-A158-E6E7E0232DBA}"/>
                </a:ext>
              </a:extLst>
            </p:cNvPr>
            <p:cNvCxnSpPr>
              <a:cxnSpLocks/>
            </p:cNvCxnSpPr>
            <p:nvPr/>
          </p:nvCxnSpPr>
          <p:spPr>
            <a:xfrm flipV="1">
              <a:off x="11225349" y="6004787"/>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93" name="Rectangle 192">
              <a:extLst>
                <a:ext uri="{FF2B5EF4-FFF2-40B4-BE49-F238E27FC236}">
                  <a16:creationId xmlns:a16="http://schemas.microsoft.com/office/drawing/2014/main" id="{9DA1A528-8CFA-4699-9923-00B8AE74C613}"/>
                </a:ext>
              </a:extLst>
            </p:cNvPr>
            <p:cNvSpPr/>
            <p:nvPr/>
          </p:nvSpPr>
          <p:spPr>
            <a:xfrm>
              <a:off x="10476777" y="5924274"/>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sp>
        <p:nvSpPr>
          <p:cNvPr id="194" name="Rectangle 193">
            <a:extLst>
              <a:ext uri="{FF2B5EF4-FFF2-40B4-BE49-F238E27FC236}">
                <a16:creationId xmlns:a16="http://schemas.microsoft.com/office/drawing/2014/main" id="{08AB4206-2044-49C4-A810-9DFDAC091F55}"/>
              </a:ext>
            </a:extLst>
          </p:cNvPr>
          <p:cNvSpPr/>
          <p:nvPr/>
        </p:nvSpPr>
        <p:spPr>
          <a:xfrm>
            <a:off x="6658493" y="6146637"/>
            <a:ext cx="4980289"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6</a:t>
            </a:r>
          </a:p>
        </p:txBody>
      </p:sp>
      <p:sp>
        <p:nvSpPr>
          <p:cNvPr id="195" name="Rectangle 194">
            <a:extLst>
              <a:ext uri="{FF2B5EF4-FFF2-40B4-BE49-F238E27FC236}">
                <a16:creationId xmlns:a16="http://schemas.microsoft.com/office/drawing/2014/main" id="{07E8A598-0960-4EA8-96BA-EDAA689100DE}"/>
              </a:ext>
            </a:extLst>
          </p:cNvPr>
          <p:cNvSpPr/>
          <p:nvPr/>
        </p:nvSpPr>
        <p:spPr>
          <a:xfrm>
            <a:off x="6282606" y="5928104"/>
            <a:ext cx="1067884"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6" name="Rectangle 195">
            <a:extLst>
              <a:ext uri="{FF2B5EF4-FFF2-40B4-BE49-F238E27FC236}">
                <a16:creationId xmlns:a16="http://schemas.microsoft.com/office/drawing/2014/main" id="{A30BD98F-23F2-49CC-A47A-E2157484A0BE}"/>
              </a:ext>
            </a:extLst>
          </p:cNvPr>
          <p:cNvSpPr/>
          <p:nvPr/>
        </p:nvSpPr>
        <p:spPr>
          <a:xfrm>
            <a:off x="6629820" y="6146637"/>
            <a:ext cx="72067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22" name="Group 221">
            <a:extLst>
              <a:ext uri="{FF2B5EF4-FFF2-40B4-BE49-F238E27FC236}">
                <a16:creationId xmlns:a16="http://schemas.microsoft.com/office/drawing/2014/main" id="{DCC30349-1194-4E7C-98B3-94C2289F3CC2}"/>
              </a:ext>
            </a:extLst>
          </p:cNvPr>
          <p:cNvGrpSpPr/>
          <p:nvPr/>
        </p:nvGrpSpPr>
        <p:grpSpPr>
          <a:xfrm>
            <a:off x="10476777" y="4714585"/>
            <a:ext cx="1085529" cy="168150"/>
            <a:chOff x="10476777" y="5924274"/>
            <a:chExt cx="1085529" cy="168150"/>
          </a:xfrm>
        </p:grpSpPr>
        <p:cxnSp>
          <p:nvCxnSpPr>
            <p:cNvPr id="223" name="Straight Arrow Connector 222">
              <a:extLst>
                <a:ext uri="{FF2B5EF4-FFF2-40B4-BE49-F238E27FC236}">
                  <a16:creationId xmlns:a16="http://schemas.microsoft.com/office/drawing/2014/main" id="{B3F31D7D-C781-40D1-9F71-0E39D85FBFDB}"/>
                </a:ext>
              </a:extLst>
            </p:cNvPr>
            <p:cNvCxnSpPr>
              <a:cxnSpLocks/>
            </p:cNvCxnSpPr>
            <p:nvPr/>
          </p:nvCxnSpPr>
          <p:spPr>
            <a:xfrm flipV="1">
              <a:off x="11225349" y="6004787"/>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224" name="Rectangle 223">
              <a:extLst>
                <a:ext uri="{FF2B5EF4-FFF2-40B4-BE49-F238E27FC236}">
                  <a16:creationId xmlns:a16="http://schemas.microsoft.com/office/drawing/2014/main" id="{19576A92-BCDF-49D1-94E0-0DD7EDD7AD27}"/>
                </a:ext>
              </a:extLst>
            </p:cNvPr>
            <p:cNvSpPr/>
            <p:nvPr/>
          </p:nvSpPr>
          <p:spPr>
            <a:xfrm>
              <a:off x="10476777" y="5924274"/>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225" name="Group 224">
            <a:extLst>
              <a:ext uri="{FF2B5EF4-FFF2-40B4-BE49-F238E27FC236}">
                <a16:creationId xmlns:a16="http://schemas.microsoft.com/office/drawing/2014/main" id="{936CDAC5-68B2-4151-B067-0472305104F0}"/>
              </a:ext>
            </a:extLst>
          </p:cNvPr>
          <p:cNvGrpSpPr/>
          <p:nvPr/>
        </p:nvGrpSpPr>
        <p:grpSpPr>
          <a:xfrm>
            <a:off x="10476777" y="5687578"/>
            <a:ext cx="1085529" cy="168150"/>
            <a:chOff x="10476777" y="5924274"/>
            <a:chExt cx="1085529" cy="168150"/>
          </a:xfrm>
        </p:grpSpPr>
        <p:cxnSp>
          <p:nvCxnSpPr>
            <p:cNvPr id="226" name="Straight Arrow Connector 225">
              <a:extLst>
                <a:ext uri="{FF2B5EF4-FFF2-40B4-BE49-F238E27FC236}">
                  <a16:creationId xmlns:a16="http://schemas.microsoft.com/office/drawing/2014/main" id="{EE792925-1EDF-4827-BD16-4BF061E170AE}"/>
                </a:ext>
              </a:extLst>
            </p:cNvPr>
            <p:cNvCxnSpPr>
              <a:cxnSpLocks/>
            </p:cNvCxnSpPr>
            <p:nvPr/>
          </p:nvCxnSpPr>
          <p:spPr>
            <a:xfrm flipV="1">
              <a:off x="11225349" y="6004787"/>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227" name="Rectangle 226">
              <a:extLst>
                <a:ext uri="{FF2B5EF4-FFF2-40B4-BE49-F238E27FC236}">
                  <a16:creationId xmlns:a16="http://schemas.microsoft.com/office/drawing/2014/main" id="{1448A190-D0CA-4351-AAC4-9E8DC0B08D85}"/>
                </a:ext>
              </a:extLst>
            </p:cNvPr>
            <p:cNvSpPr/>
            <p:nvPr/>
          </p:nvSpPr>
          <p:spPr>
            <a:xfrm>
              <a:off x="10476777" y="5924274"/>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232" name="Group 231">
            <a:extLst>
              <a:ext uri="{FF2B5EF4-FFF2-40B4-BE49-F238E27FC236}">
                <a16:creationId xmlns:a16="http://schemas.microsoft.com/office/drawing/2014/main" id="{B6F39FFE-A12C-4BEA-B096-360C108A7FA2}"/>
              </a:ext>
            </a:extLst>
          </p:cNvPr>
          <p:cNvGrpSpPr/>
          <p:nvPr/>
        </p:nvGrpSpPr>
        <p:grpSpPr>
          <a:xfrm>
            <a:off x="10476777" y="6151427"/>
            <a:ext cx="1085529" cy="168150"/>
            <a:chOff x="10476777" y="5924274"/>
            <a:chExt cx="1085529" cy="168150"/>
          </a:xfrm>
        </p:grpSpPr>
        <p:cxnSp>
          <p:nvCxnSpPr>
            <p:cNvPr id="233" name="Straight Arrow Connector 232">
              <a:extLst>
                <a:ext uri="{FF2B5EF4-FFF2-40B4-BE49-F238E27FC236}">
                  <a16:creationId xmlns:a16="http://schemas.microsoft.com/office/drawing/2014/main" id="{BA38A19B-2B11-4A00-BD2C-A3875B2DA041}"/>
                </a:ext>
              </a:extLst>
            </p:cNvPr>
            <p:cNvCxnSpPr>
              <a:cxnSpLocks/>
            </p:cNvCxnSpPr>
            <p:nvPr/>
          </p:nvCxnSpPr>
          <p:spPr>
            <a:xfrm flipV="1">
              <a:off x="11225349" y="6004787"/>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234" name="Rectangle 233">
              <a:extLst>
                <a:ext uri="{FF2B5EF4-FFF2-40B4-BE49-F238E27FC236}">
                  <a16:creationId xmlns:a16="http://schemas.microsoft.com/office/drawing/2014/main" id="{22FADCCB-C1EF-41E0-B26F-C9D64AA93C94}"/>
                </a:ext>
              </a:extLst>
            </p:cNvPr>
            <p:cNvSpPr/>
            <p:nvPr/>
          </p:nvSpPr>
          <p:spPr>
            <a:xfrm>
              <a:off x="10476777" y="5924274"/>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16" name="Group 15">
            <a:extLst>
              <a:ext uri="{FF2B5EF4-FFF2-40B4-BE49-F238E27FC236}">
                <a16:creationId xmlns:a16="http://schemas.microsoft.com/office/drawing/2014/main" id="{6EA18F2B-F413-47BF-B970-ECCE41C7FE26}"/>
              </a:ext>
            </a:extLst>
          </p:cNvPr>
          <p:cNvGrpSpPr/>
          <p:nvPr/>
        </p:nvGrpSpPr>
        <p:grpSpPr>
          <a:xfrm>
            <a:off x="9193942" y="6389241"/>
            <a:ext cx="2506678" cy="117947"/>
            <a:chOff x="9193942" y="6389241"/>
            <a:chExt cx="2506678" cy="117947"/>
          </a:xfrm>
        </p:grpSpPr>
        <p:sp>
          <p:nvSpPr>
            <p:cNvPr id="15" name="Rectangle 14">
              <a:extLst>
                <a:ext uri="{FF2B5EF4-FFF2-40B4-BE49-F238E27FC236}">
                  <a16:creationId xmlns:a16="http://schemas.microsoft.com/office/drawing/2014/main" id="{219C1D64-C98E-4B73-9AF7-974E839FE641}"/>
                </a:ext>
              </a:extLst>
            </p:cNvPr>
            <p:cNvSpPr/>
            <p:nvPr/>
          </p:nvSpPr>
          <p:spPr>
            <a:xfrm>
              <a:off x="9193942" y="6389241"/>
              <a:ext cx="2506678" cy="116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Calibri" panose="020F0502020204030204"/>
                  <a:ea typeface="+mn-ea"/>
                  <a:cs typeface="+mn-cs"/>
                </a:rPr>
                <a:t>Note:                             indicates an ongoing program</a:t>
              </a:r>
            </a:p>
          </p:txBody>
        </p:sp>
        <p:grpSp>
          <p:nvGrpSpPr>
            <p:cNvPr id="242" name="Group 241">
              <a:extLst>
                <a:ext uri="{FF2B5EF4-FFF2-40B4-BE49-F238E27FC236}">
                  <a16:creationId xmlns:a16="http://schemas.microsoft.com/office/drawing/2014/main" id="{E7C960A1-C5D9-47E8-A68B-B8C6193DD445}"/>
                </a:ext>
              </a:extLst>
            </p:cNvPr>
            <p:cNvGrpSpPr/>
            <p:nvPr/>
          </p:nvGrpSpPr>
          <p:grpSpPr>
            <a:xfrm>
              <a:off x="9772996" y="6399188"/>
              <a:ext cx="554117" cy="108000"/>
              <a:chOff x="10949197" y="5924273"/>
              <a:chExt cx="554117" cy="108000"/>
            </a:xfrm>
          </p:grpSpPr>
          <p:sp>
            <p:nvSpPr>
              <p:cNvPr id="243" name="Rectangle 242">
                <a:extLst>
                  <a:ext uri="{FF2B5EF4-FFF2-40B4-BE49-F238E27FC236}">
                    <a16:creationId xmlns:a16="http://schemas.microsoft.com/office/drawing/2014/main" id="{FF95D217-61F7-4730-8F53-0DFB4DA746DD}"/>
                  </a:ext>
                </a:extLst>
              </p:cNvPr>
              <p:cNvSpPr/>
              <p:nvPr/>
            </p:nvSpPr>
            <p:spPr>
              <a:xfrm>
                <a:off x="10949197" y="5924273"/>
                <a:ext cx="554117" cy="108000"/>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cxnSp>
            <p:nvCxnSpPr>
              <p:cNvPr id="244" name="Straight Arrow Connector 243">
                <a:extLst>
                  <a:ext uri="{FF2B5EF4-FFF2-40B4-BE49-F238E27FC236}">
                    <a16:creationId xmlns:a16="http://schemas.microsoft.com/office/drawing/2014/main" id="{BB799019-0D4E-41D7-9375-DC75552F94F6}"/>
                  </a:ext>
                </a:extLst>
              </p:cNvPr>
              <p:cNvCxnSpPr>
                <a:cxnSpLocks/>
              </p:cNvCxnSpPr>
              <p:nvPr/>
            </p:nvCxnSpPr>
            <p:spPr>
              <a:xfrm>
                <a:off x="11278689" y="5976212"/>
                <a:ext cx="188395" cy="0"/>
              </a:xfrm>
              <a:prstGeom prst="straightConnector1">
                <a:avLst/>
              </a:prstGeom>
              <a:noFill/>
              <a:ln w="0" cap="flat" cmpd="sng" algn="ctr">
                <a:solidFill>
                  <a:sysClr val="window" lastClr="FFFFFF"/>
                </a:solidFill>
                <a:prstDash val="solid"/>
                <a:miter lim="800000"/>
                <a:tailEnd type="triangle"/>
              </a:ln>
              <a:effectLst/>
            </p:spPr>
          </p:cxnSp>
        </p:grpSp>
      </p:grpSp>
    </p:spTree>
    <p:extLst>
      <p:ext uri="{BB962C8B-B14F-4D97-AF65-F5344CB8AC3E}">
        <p14:creationId xmlns:p14="http://schemas.microsoft.com/office/powerpoint/2010/main" val="14087807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4A125C-33B0-4745-8D8B-B6D37E03CE4E}"/>
              </a:ext>
            </a:extLst>
          </p:cNvPr>
          <p:cNvSpPr/>
          <p:nvPr/>
        </p:nvSpPr>
        <p:spPr>
          <a:xfrm>
            <a:off x="1895936" y="2025623"/>
            <a:ext cx="2226626" cy="1184275"/>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 </a:t>
            </a:r>
          </a:p>
        </p:txBody>
      </p:sp>
      <p:cxnSp>
        <p:nvCxnSpPr>
          <p:cNvPr id="3" name="Straight Connector 2">
            <a:extLst>
              <a:ext uri="{FF2B5EF4-FFF2-40B4-BE49-F238E27FC236}">
                <a16:creationId xmlns:a16="http://schemas.microsoft.com/office/drawing/2014/main" id="{CE220CCD-D463-40ED-B7D0-39C00D9780F4}"/>
              </a:ext>
            </a:extLst>
          </p:cNvPr>
          <p:cNvCxnSpPr>
            <a:cxnSpLocks/>
          </p:cNvCxnSpPr>
          <p:nvPr/>
        </p:nvCxnSpPr>
        <p:spPr>
          <a:xfrm flipH="1">
            <a:off x="6281388" y="1910091"/>
            <a:ext cx="2832" cy="4402426"/>
          </a:xfrm>
          <a:prstGeom prst="line">
            <a:avLst/>
          </a:prstGeom>
          <a:noFill/>
          <a:ln w="6350" cap="flat" cmpd="sng" algn="ctr">
            <a:solidFill>
              <a:srgbClr val="E7E6E6"/>
            </a:solidFill>
            <a:prstDash val="solid"/>
            <a:miter lim="800000"/>
          </a:ln>
          <a:effectLst/>
        </p:spPr>
      </p:cxnSp>
      <p:cxnSp>
        <p:nvCxnSpPr>
          <p:cNvPr id="4" name="Straight Connector 3">
            <a:extLst>
              <a:ext uri="{FF2B5EF4-FFF2-40B4-BE49-F238E27FC236}">
                <a16:creationId xmlns:a16="http://schemas.microsoft.com/office/drawing/2014/main" id="{A77A3869-9CC7-4DC1-BE03-C1D68094A801}"/>
              </a:ext>
            </a:extLst>
          </p:cNvPr>
          <p:cNvCxnSpPr>
            <a:cxnSpLocks/>
          </p:cNvCxnSpPr>
          <p:nvPr/>
        </p:nvCxnSpPr>
        <p:spPr>
          <a:xfrm flipH="1">
            <a:off x="5201878" y="1910091"/>
            <a:ext cx="2832" cy="4402426"/>
          </a:xfrm>
          <a:prstGeom prst="line">
            <a:avLst/>
          </a:prstGeom>
          <a:noFill/>
          <a:ln w="6350" cap="flat" cmpd="sng" algn="ctr">
            <a:solidFill>
              <a:srgbClr val="E7E6E6"/>
            </a:solidFill>
            <a:prstDash val="solid"/>
            <a:miter lim="800000"/>
          </a:ln>
          <a:effectLst/>
        </p:spPr>
      </p:cxnSp>
      <p:cxnSp>
        <p:nvCxnSpPr>
          <p:cNvPr id="5" name="Straight Connector 4">
            <a:extLst>
              <a:ext uri="{FF2B5EF4-FFF2-40B4-BE49-F238E27FC236}">
                <a16:creationId xmlns:a16="http://schemas.microsoft.com/office/drawing/2014/main" id="{85E8C285-A3D1-42DD-A612-AE689FF938F7}"/>
              </a:ext>
            </a:extLst>
          </p:cNvPr>
          <p:cNvCxnSpPr>
            <a:cxnSpLocks/>
          </p:cNvCxnSpPr>
          <p:nvPr/>
        </p:nvCxnSpPr>
        <p:spPr>
          <a:xfrm flipH="1">
            <a:off x="7344212" y="1910091"/>
            <a:ext cx="2832" cy="4402426"/>
          </a:xfrm>
          <a:prstGeom prst="line">
            <a:avLst/>
          </a:prstGeom>
          <a:noFill/>
          <a:ln w="6350" cap="flat" cmpd="sng" algn="ctr">
            <a:solidFill>
              <a:srgbClr val="E7E6E6"/>
            </a:solidFill>
            <a:prstDash val="solid"/>
            <a:miter lim="800000"/>
          </a:ln>
          <a:effectLst/>
        </p:spPr>
      </p:cxnSp>
      <p:cxnSp>
        <p:nvCxnSpPr>
          <p:cNvPr id="6" name="Straight Connector 5">
            <a:extLst>
              <a:ext uri="{FF2B5EF4-FFF2-40B4-BE49-F238E27FC236}">
                <a16:creationId xmlns:a16="http://schemas.microsoft.com/office/drawing/2014/main" id="{E794DF53-65EA-4326-8740-B16242E32EB9}"/>
              </a:ext>
            </a:extLst>
          </p:cNvPr>
          <p:cNvCxnSpPr>
            <a:cxnSpLocks/>
          </p:cNvCxnSpPr>
          <p:nvPr/>
        </p:nvCxnSpPr>
        <p:spPr>
          <a:xfrm flipH="1">
            <a:off x="8420048" y="1910091"/>
            <a:ext cx="2832" cy="4402426"/>
          </a:xfrm>
          <a:prstGeom prst="line">
            <a:avLst/>
          </a:prstGeom>
          <a:noFill/>
          <a:ln w="6350" cap="flat" cmpd="sng" algn="ctr">
            <a:solidFill>
              <a:srgbClr val="E7E6E6"/>
            </a:solidFill>
            <a:prstDash val="solid"/>
            <a:miter lim="800000"/>
          </a:ln>
          <a:effectLst/>
        </p:spPr>
      </p:cxnSp>
      <p:cxnSp>
        <p:nvCxnSpPr>
          <p:cNvPr id="7" name="Straight Connector 6">
            <a:extLst>
              <a:ext uri="{FF2B5EF4-FFF2-40B4-BE49-F238E27FC236}">
                <a16:creationId xmlns:a16="http://schemas.microsoft.com/office/drawing/2014/main" id="{96A73194-B2E3-4FD9-8C48-B3147D6B396B}"/>
              </a:ext>
            </a:extLst>
          </p:cNvPr>
          <p:cNvCxnSpPr>
            <a:cxnSpLocks/>
          </p:cNvCxnSpPr>
          <p:nvPr/>
        </p:nvCxnSpPr>
        <p:spPr>
          <a:xfrm flipH="1">
            <a:off x="9511722" y="1910091"/>
            <a:ext cx="2832" cy="4402426"/>
          </a:xfrm>
          <a:prstGeom prst="line">
            <a:avLst/>
          </a:prstGeom>
          <a:noFill/>
          <a:ln w="6350" cap="flat" cmpd="sng" algn="ctr">
            <a:solidFill>
              <a:srgbClr val="E7E6E6"/>
            </a:solidFill>
            <a:prstDash val="solid"/>
            <a:miter lim="800000"/>
          </a:ln>
          <a:effectLst/>
        </p:spPr>
      </p:cxnSp>
      <p:cxnSp>
        <p:nvCxnSpPr>
          <p:cNvPr id="8" name="Straight Connector 7">
            <a:extLst>
              <a:ext uri="{FF2B5EF4-FFF2-40B4-BE49-F238E27FC236}">
                <a16:creationId xmlns:a16="http://schemas.microsoft.com/office/drawing/2014/main" id="{9AE5A48E-50F4-4080-8F1D-D13059445E9A}"/>
              </a:ext>
            </a:extLst>
          </p:cNvPr>
          <p:cNvCxnSpPr>
            <a:cxnSpLocks/>
          </p:cNvCxnSpPr>
          <p:nvPr/>
        </p:nvCxnSpPr>
        <p:spPr>
          <a:xfrm flipH="1">
            <a:off x="10570561" y="1910091"/>
            <a:ext cx="2832" cy="4402426"/>
          </a:xfrm>
          <a:prstGeom prst="line">
            <a:avLst/>
          </a:prstGeom>
          <a:noFill/>
          <a:ln w="6350" cap="flat" cmpd="sng" algn="ctr">
            <a:solidFill>
              <a:srgbClr val="E7E6E6"/>
            </a:solidFill>
            <a:prstDash val="solid"/>
            <a:miter lim="800000"/>
          </a:ln>
          <a:effectLst/>
        </p:spPr>
      </p:cxnSp>
      <p:sp>
        <p:nvSpPr>
          <p:cNvPr id="9" name="TextBox 8">
            <a:extLst>
              <a:ext uri="{FF2B5EF4-FFF2-40B4-BE49-F238E27FC236}">
                <a16:creationId xmlns:a16="http://schemas.microsoft.com/office/drawing/2014/main" id="{61F16E10-1C9D-4323-BC20-BAE1CC6BFD67}"/>
              </a:ext>
            </a:extLst>
          </p:cNvPr>
          <p:cNvSpPr txBox="1"/>
          <p:nvPr/>
        </p:nvSpPr>
        <p:spPr>
          <a:xfrm rot="16200000">
            <a:off x="102756" y="3700491"/>
            <a:ext cx="1177842"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6</a:t>
            </a:r>
          </a:p>
        </p:txBody>
      </p:sp>
      <p:sp>
        <p:nvSpPr>
          <p:cNvPr id="10" name="TextBox 9">
            <a:extLst>
              <a:ext uri="{FF2B5EF4-FFF2-40B4-BE49-F238E27FC236}">
                <a16:creationId xmlns:a16="http://schemas.microsoft.com/office/drawing/2014/main" id="{2CE6A47F-3EB0-4009-8601-93D5CBDC8F85}"/>
              </a:ext>
            </a:extLst>
          </p:cNvPr>
          <p:cNvSpPr txBox="1"/>
          <p:nvPr/>
        </p:nvSpPr>
        <p:spPr>
          <a:xfrm>
            <a:off x="868331" y="2465473"/>
            <a:ext cx="1005345" cy="307777"/>
          </a:xfrm>
          <a:prstGeom prst="rect">
            <a:avLst/>
          </a:prstGeom>
          <a:noFill/>
        </p:spPr>
        <p:txBody>
          <a:bodyPr wrap="square" lIns="0" tIns="0" rIns="0" bIns="0">
            <a:spAutoFit/>
          </a:bodyPr>
          <a:lstStyle/>
          <a:p>
            <a:pPr marL="0" marR="0" lvl="0" indent="0" algn="l" defTabSz="91338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Calibri" panose="020F0502020204030204"/>
                <a:ea typeface="+mn-ea"/>
                <a:cs typeface="+mn-cs"/>
              </a:rPr>
              <a:t>Defining Data Lineage</a:t>
            </a:r>
            <a:endParaRPr kumimoji="0" lang="en-US" sz="10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 name="Rectangle 56">
            <a:extLst>
              <a:ext uri="{FF2B5EF4-FFF2-40B4-BE49-F238E27FC236}">
                <a16:creationId xmlns:a16="http://schemas.microsoft.com/office/drawing/2014/main" id="{283197B8-E348-4BDB-AF4C-43CC77015491}"/>
              </a:ext>
            </a:extLst>
          </p:cNvPr>
          <p:cNvSpPr/>
          <p:nvPr/>
        </p:nvSpPr>
        <p:spPr>
          <a:xfrm>
            <a:off x="576262" y="1522326"/>
            <a:ext cx="1308100" cy="492638"/>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Use Cases</a:t>
            </a:r>
          </a:p>
        </p:txBody>
      </p:sp>
      <p:sp>
        <p:nvSpPr>
          <p:cNvPr id="12" name="Rectangle 56">
            <a:extLst>
              <a:ext uri="{FF2B5EF4-FFF2-40B4-BE49-F238E27FC236}">
                <a16:creationId xmlns:a16="http://schemas.microsoft.com/office/drawing/2014/main" id="{EC72C4A4-C41C-46C1-ADDC-D209DFBE535E}"/>
              </a:ext>
            </a:extLst>
          </p:cNvPr>
          <p:cNvSpPr/>
          <p:nvPr/>
        </p:nvSpPr>
        <p:spPr>
          <a:xfrm>
            <a:off x="1901122" y="1523268"/>
            <a:ext cx="2221440" cy="491696"/>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Key Activities</a:t>
            </a:r>
          </a:p>
        </p:txBody>
      </p:sp>
      <p:sp>
        <p:nvSpPr>
          <p:cNvPr id="13" name="TextBox 12">
            <a:extLst>
              <a:ext uri="{FF2B5EF4-FFF2-40B4-BE49-F238E27FC236}">
                <a16:creationId xmlns:a16="http://schemas.microsoft.com/office/drawing/2014/main" id="{52FFE4D5-B318-4849-9B1B-F282039A0D46}"/>
              </a:ext>
            </a:extLst>
          </p:cNvPr>
          <p:cNvSpPr txBox="1"/>
          <p:nvPr/>
        </p:nvSpPr>
        <p:spPr>
          <a:xfrm rot="16200000">
            <a:off x="101141" y="2503945"/>
            <a:ext cx="1181073"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5</a:t>
            </a:r>
          </a:p>
        </p:txBody>
      </p:sp>
      <p:sp>
        <p:nvSpPr>
          <p:cNvPr id="14" name="TextBox 13">
            <a:extLst>
              <a:ext uri="{FF2B5EF4-FFF2-40B4-BE49-F238E27FC236}">
                <a16:creationId xmlns:a16="http://schemas.microsoft.com/office/drawing/2014/main" id="{2DE16E4D-EECD-4584-A177-5D9DC40139C1}"/>
              </a:ext>
            </a:extLst>
          </p:cNvPr>
          <p:cNvSpPr txBox="1"/>
          <p:nvPr/>
        </p:nvSpPr>
        <p:spPr>
          <a:xfrm>
            <a:off x="876833" y="3738963"/>
            <a:ext cx="1005345"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Introducing DDA’s</a:t>
            </a:r>
          </a:p>
        </p:txBody>
      </p:sp>
      <p:sp>
        <p:nvSpPr>
          <p:cNvPr id="15" name="TextBox 14">
            <a:extLst>
              <a:ext uri="{FF2B5EF4-FFF2-40B4-BE49-F238E27FC236}">
                <a16:creationId xmlns:a16="http://schemas.microsoft.com/office/drawing/2014/main" id="{6C432211-E1F9-4B4B-BD79-15642FDCB2E9}"/>
              </a:ext>
            </a:extLst>
          </p:cNvPr>
          <p:cNvSpPr txBox="1"/>
          <p:nvPr/>
        </p:nvSpPr>
        <p:spPr>
          <a:xfrm>
            <a:off x="886219" y="4698148"/>
            <a:ext cx="969568" cy="461665"/>
          </a:xfrm>
          <a:prstGeom prst="rect">
            <a:avLst/>
          </a:prstGeom>
          <a:noFill/>
        </p:spPr>
        <p:txBody>
          <a:bodyPr wrap="square" lIns="0" tIns="0" rIns="0" bIns="0">
            <a:spAutoFit/>
          </a:bodyPr>
          <a:lstStyle/>
          <a:p>
            <a:pPr marL="0" marR="0" lvl="0" indent="0" algn="l" defTabSz="91338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Calibri" panose="020F0502020204030204"/>
                <a:ea typeface="+mn-ea"/>
                <a:cs typeface="+mn-cs"/>
              </a:rPr>
              <a:t>Improving Data Management for compliance</a:t>
            </a:r>
            <a:endParaRPr kumimoji="0" lang="en-US" sz="10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F59F09DD-EF5B-4DBB-8877-66D797574AD7}"/>
              </a:ext>
            </a:extLst>
          </p:cNvPr>
          <p:cNvSpPr txBox="1"/>
          <p:nvPr/>
        </p:nvSpPr>
        <p:spPr>
          <a:xfrm rot="16200000">
            <a:off x="188348" y="4813564"/>
            <a:ext cx="1006658"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7</a:t>
            </a:r>
          </a:p>
        </p:txBody>
      </p:sp>
      <p:sp>
        <p:nvSpPr>
          <p:cNvPr id="17" name="TextBox 16">
            <a:extLst>
              <a:ext uri="{FF2B5EF4-FFF2-40B4-BE49-F238E27FC236}">
                <a16:creationId xmlns:a16="http://schemas.microsoft.com/office/drawing/2014/main" id="{4CE60A04-C53A-4BBD-972E-50AFA3A10990}"/>
              </a:ext>
            </a:extLst>
          </p:cNvPr>
          <p:cNvSpPr txBox="1"/>
          <p:nvPr/>
        </p:nvSpPr>
        <p:spPr>
          <a:xfrm>
            <a:off x="868889" y="5597818"/>
            <a:ext cx="1005345"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Calibri" panose="020F0502020204030204"/>
                <a:ea typeface="+mn-ea"/>
                <a:cs typeface="+mn-cs"/>
              </a:rPr>
              <a:t>Implement enterprise wide Data Quality program</a:t>
            </a:r>
          </a:p>
        </p:txBody>
      </p:sp>
      <p:sp>
        <p:nvSpPr>
          <p:cNvPr id="18" name="TextBox 17">
            <a:extLst>
              <a:ext uri="{FF2B5EF4-FFF2-40B4-BE49-F238E27FC236}">
                <a16:creationId xmlns:a16="http://schemas.microsoft.com/office/drawing/2014/main" id="{3B632534-A876-4AAE-8437-0648F0D50A07}"/>
              </a:ext>
            </a:extLst>
          </p:cNvPr>
          <p:cNvSpPr txBox="1"/>
          <p:nvPr/>
        </p:nvSpPr>
        <p:spPr>
          <a:xfrm rot="16200000">
            <a:off x="247120" y="5792226"/>
            <a:ext cx="889115" cy="230832"/>
          </a:xfrm>
          <a:prstGeom prst="rect">
            <a:avLst/>
          </a:prstGeom>
          <a:solidFill>
            <a:srgbClr val="0069B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mn-ea"/>
                <a:cs typeface="+mn-cs"/>
              </a:rPr>
              <a:t>Use Case 8</a:t>
            </a:r>
          </a:p>
        </p:txBody>
      </p:sp>
      <p:grpSp>
        <p:nvGrpSpPr>
          <p:cNvPr id="19" name="Group 18">
            <a:extLst>
              <a:ext uri="{FF2B5EF4-FFF2-40B4-BE49-F238E27FC236}">
                <a16:creationId xmlns:a16="http://schemas.microsoft.com/office/drawing/2014/main" id="{79915F06-22D1-48DC-ABBA-20AFAC564662}"/>
              </a:ext>
            </a:extLst>
          </p:cNvPr>
          <p:cNvGrpSpPr/>
          <p:nvPr/>
        </p:nvGrpSpPr>
        <p:grpSpPr>
          <a:xfrm>
            <a:off x="576262" y="545483"/>
            <a:ext cx="11052001" cy="871704"/>
            <a:chOff x="576262" y="545483"/>
            <a:chExt cx="11052001" cy="871704"/>
          </a:xfrm>
        </p:grpSpPr>
        <p:sp>
          <p:nvSpPr>
            <p:cNvPr id="20" name="TextBox 29">
              <a:extLst>
                <a:ext uri="{FF2B5EF4-FFF2-40B4-BE49-F238E27FC236}">
                  <a16:creationId xmlns:a16="http://schemas.microsoft.com/office/drawing/2014/main" id="{AA250F6A-7ED4-428D-A955-5ADA4E4CCD50}"/>
                </a:ext>
              </a:extLst>
            </p:cNvPr>
            <p:cNvSpPr txBox="1"/>
            <p:nvPr/>
          </p:nvSpPr>
          <p:spPr>
            <a:xfrm>
              <a:off x="576262" y="1019046"/>
              <a:ext cx="2632527" cy="398141"/>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0" cap="all" spc="60" normalizeH="0" baseline="0" noProof="0">
                  <a:ln>
                    <a:noFill/>
                  </a:ln>
                  <a:solidFill>
                    <a:srgbClr val="4472C4"/>
                  </a:solidFill>
                  <a:effectLst/>
                  <a:uLnTx/>
                  <a:uFillTx/>
                  <a:latin typeface="Calibri Light" panose="020F0302020204030204"/>
                  <a:ea typeface="+mn-ea"/>
                  <a:cs typeface="+mn-cs"/>
                </a:rPr>
                <a:t>USE CASE OWNER: Lance Cameron</a:t>
              </a:r>
            </a:p>
          </p:txBody>
        </p:sp>
        <p:grpSp>
          <p:nvGrpSpPr>
            <p:cNvPr id="21" name="Group 20">
              <a:extLst>
                <a:ext uri="{FF2B5EF4-FFF2-40B4-BE49-F238E27FC236}">
                  <a16:creationId xmlns:a16="http://schemas.microsoft.com/office/drawing/2014/main" id="{20E7AA71-B645-441D-BB56-3B58C7D605B7}"/>
                </a:ext>
              </a:extLst>
            </p:cNvPr>
            <p:cNvGrpSpPr/>
            <p:nvPr/>
          </p:nvGrpSpPr>
          <p:grpSpPr>
            <a:xfrm>
              <a:off x="576262" y="545483"/>
              <a:ext cx="11052001" cy="740263"/>
              <a:chOff x="576262" y="545483"/>
              <a:chExt cx="11052001" cy="740263"/>
            </a:xfrm>
          </p:grpSpPr>
          <p:sp>
            <p:nvSpPr>
              <p:cNvPr id="22" name="TextBox 29">
                <a:extLst>
                  <a:ext uri="{FF2B5EF4-FFF2-40B4-BE49-F238E27FC236}">
                    <a16:creationId xmlns:a16="http://schemas.microsoft.com/office/drawing/2014/main" id="{03381028-E4D0-4A48-B36C-3A4C71861792}"/>
                  </a:ext>
                </a:extLst>
              </p:cNvPr>
              <p:cNvSpPr txBox="1"/>
              <p:nvPr/>
            </p:nvSpPr>
            <p:spPr>
              <a:xfrm>
                <a:off x="576262" y="545483"/>
                <a:ext cx="11052000" cy="454705"/>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0" cap="all" spc="60" normalizeH="0" baseline="0" noProof="0">
                    <a:ln>
                      <a:noFill/>
                    </a:ln>
                    <a:solidFill>
                      <a:prstClr val="black"/>
                    </a:solidFill>
                    <a:effectLst/>
                    <a:uLnTx/>
                    <a:uFillTx/>
                    <a:latin typeface="Calibri Light" panose="020F0302020204030204"/>
                    <a:ea typeface="+mn-ea"/>
                    <a:cs typeface="+mn-cs"/>
                  </a:rPr>
                  <a:t>STRATEGIC DATA OBJECTIVE #1: </a:t>
                </a:r>
                <a:r>
                  <a:rPr kumimoji="0" lang="en-US" sz="1200" b="0" i="0" u="none" strike="noStrike" kern="0" cap="all" spc="60" normalizeH="0" baseline="0" noProof="0">
                    <a:ln>
                      <a:noFill/>
                    </a:ln>
                    <a:solidFill>
                      <a:prstClr val="black"/>
                    </a:solidFill>
                    <a:effectLst/>
                    <a:uLnTx/>
                    <a:uFillTx/>
                    <a:latin typeface="Calibri Light" panose="020F0302020204030204"/>
                    <a:ea typeface="+mn-ea"/>
                    <a:cs typeface="+mn-cs"/>
                  </a:rPr>
                  <a:t>Improving Data Governance and integrating Data Management into our business for ensuring regulatory compliance and easy/timely access to data</a:t>
                </a:r>
              </a:p>
              <a:p>
                <a:pPr marL="0" marR="0" lvl="0" indent="0" algn="l" defTabSz="913943" rtl="0" eaLnBrk="1" fontAlgn="auto" latinLnBrk="0" hangingPunct="1">
                  <a:lnSpc>
                    <a:spcPct val="130000"/>
                  </a:lnSpc>
                  <a:spcBef>
                    <a:spcPts val="0"/>
                  </a:spcBef>
                  <a:spcAft>
                    <a:spcPts val="0"/>
                  </a:spcAft>
                  <a:buClrTx/>
                  <a:buSzTx/>
                  <a:buFontTx/>
                  <a:buNone/>
                  <a:tabLst/>
                  <a:defRPr/>
                </a:pPr>
                <a:br>
                  <a:rPr kumimoji="0" lang="en-US" sz="1200" b="0" i="0" u="none" strike="noStrike" kern="0" cap="all" spc="60" normalizeH="0" baseline="0" noProof="0">
                    <a:ln>
                      <a:noFill/>
                    </a:ln>
                    <a:solidFill>
                      <a:srgbClr val="001F5B"/>
                    </a:solidFill>
                    <a:effectLst/>
                    <a:uLnTx/>
                    <a:uFillTx/>
                    <a:latin typeface="Calibri Light" panose="020F0302020204030204"/>
                    <a:ea typeface="+mn-ea"/>
                    <a:cs typeface="+mn-cs"/>
                  </a:rPr>
                </a:br>
                <a:r>
                  <a:rPr kumimoji="0" lang="en-US" sz="1200" b="0" i="0" u="none" strike="noStrike" kern="0" cap="none" spc="0" normalizeH="0" baseline="0" noProof="0">
                    <a:ln>
                      <a:noFill/>
                    </a:ln>
                    <a:solidFill>
                      <a:srgbClr val="001F5B"/>
                    </a:solidFill>
                    <a:effectLst/>
                    <a:uLnTx/>
                    <a:uFillTx/>
                    <a:latin typeface="Calibri Light" panose="020F0302020204030204"/>
                    <a:ea typeface="+mn-ea"/>
                    <a:cs typeface="+mn-cs"/>
                  </a:rPr>
                  <a:t>  </a:t>
                </a:r>
              </a:p>
            </p:txBody>
          </p:sp>
          <p:cxnSp>
            <p:nvCxnSpPr>
              <p:cNvPr id="23" name="Straight Connector 22">
                <a:extLst>
                  <a:ext uri="{FF2B5EF4-FFF2-40B4-BE49-F238E27FC236}">
                    <a16:creationId xmlns:a16="http://schemas.microsoft.com/office/drawing/2014/main" id="{19F12CAB-F0ED-4AC4-BABC-03F7EAEC4EDF}"/>
                  </a:ext>
                </a:extLst>
              </p:cNvPr>
              <p:cNvCxnSpPr>
                <a:cxnSpLocks/>
              </p:cNvCxnSpPr>
              <p:nvPr/>
            </p:nvCxnSpPr>
            <p:spPr>
              <a:xfrm>
                <a:off x="576263" y="1285746"/>
                <a:ext cx="11052000" cy="0"/>
              </a:xfrm>
              <a:prstGeom prst="line">
                <a:avLst/>
              </a:prstGeom>
              <a:noFill/>
              <a:ln w="19050" cap="flat" cmpd="sng" algn="ctr">
                <a:solidFill>
                  <a:srgbClr val="4472C4"/>
                </a:solidFill>
                <a:prstDash val="solid"/>
                <a:miter lim="800000"/>
              </a:ln>
              <a:effectLst/>
            </p:spPr>
          </p:cxnSp>
        </p:grpSp>
      </p:grpSp>
      <p:sp>
        <p:nvSpPr>
          <p:cNvPr id="24" name="Rectangle 23">
            <a:extLst>
              <a:ext uri="{FF2B5EF4-FFF2-40B4-BE49-F238E27FC236}">
                <a16:creationId xmlns:a16="http://schemas.microsoft.com/office/drawing/2014/main" id="{AAA23732-ACCF-4B85-888E-0EC140186D8E}"/>
              </a:ext>
            </a:extLst>
          </p:cNvPr>
          <p:cNvSpPr/>
          <p:nvPr/>
        </p:nvSpPr>
        <p:spPr>
          <a:xfrm>
            <a:off x="1895184" y="3235696"/>
            <a:ext cx="2227378" cy="1169135"/>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2133758E-67A7-469F-9D8E-59866BF6B938}"/>
              </a:ext>
            </a:extLst>
          </p:cNvPr>
          <p:cNvSpPr/>
          <p:nvPr/>
        </p:nvSpPr>
        <p:spPr>
          <a:xfrm>
            <a:off x="1901122" y="4430629"/>
            <a:ext cx="2221440" cy="1006658"/>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01CAD92-904D-466D-A0A4-A01980ABFC91}"/>
              </a:ext>
            </a:extLst>
          </p:cNvPr>
          <p:cNvSpPr/>
          <p:nvPr/>
        </p:nvSpPr>
        <p:spPr>
          <a:xfrm>
            <a:off x="1898070" y="5463085"/>
            <a:ext cx="2224492" cy="889114"/>
          </a:xfrm>
          <a:prstGeom prst="rect">
            <a:avLst/>
          </a:prstGeom>
          <a:solidFill>
            <a:sysClr val="window" lastClr="FFFFFF">
              <a:lumMod val="95000"/>
            </a:sys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7" name="Table 5">
            <a:extLst>
              <a:ext uri="{FF2B5EF4-FFF2-40B4-BE49-F238E27FC236}">
                <a16:creationId xmlns:a16="http://schemas.microsoft.com/office/drawing/2014/main" id="{93527D9D-291E-4C8E-A7E3-E5F83E2B07CF}"/>
              </a:ext>
            </a:extLst>
          </p:cNvPr>
          <p:cNvGraphicFramePr>
            <a:graphicFrameLocks noGrp="1"/>
          </p:cNvGraphicFramePr>
          <p:nvPr>
            <p:extLst>
              <p:ext uri="{D42A27DB-BD31-4B8C-83A1-F6EECF244321}">
                <p14:modId xmlns:p14="http://schemas.microsoft.com/office/powerpoint/2010/main" val="1851332401"/>
              </p:ext>
            </p:extLst>
          </p:nvPr>
        </p:nvGraphicFramePr>
        <p:xfrm>
          <a:off x="1907259" y="2025623"/>
          <a:ext cx="2249771" cy="4326575"/>
        </p:xfrm>
        <a:graphic>
          <a:graphicData uri="http://schemas.openxmlformats.org/drawingml/2006/table">
            <a:tbl>
              <a:tblPr firstRow="1" bandRow="1"/>
              <a:tblGrid>
                <a:gridCol w="208280">
                  <a:extLst>
                    <a:ext uri="{9D8B030D-6E8A-4147-A177-3AD203B41FA5}">
                      <a16:colId xmlns:a16="http://schemas.microsoft.com/office/drawing/2014/main" val="1717011062"/>
                    </a:ext>
                  </a:extLst>
                </a:gridCol>
                <a:gridCol w="2041491">
                  <a:extLst>
                    <a:ext uri="{9D8B030D-6E8A-4147-A177-3AD203B41FA5}">
                      <a16:colId xmlns:a16="http://schemas.microsoft.com/office/drawing/2014/main" val="3540057775"/>
                    </a:ext>
                  </a:extLst>
                </a:gridCol>
              </a:tblGrid>
              <a:tr h="389850">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900" b="0" u="none" strike="noStrike" kern="1200" cap="none" spc="0" normalizeH="0" baseline="0" noProof="0">
                          <a:ln>
                            <a:noFill/>
                          </a:ln>
                          <a:solidFill>
                            <a:schemeClr val="tx1"/>
                          </a:solidFill>
                          <a:effectLst/>
                          <a:uLnTx/>
                          <a:uFillTx/>
                        </a:rPr>
                        <a:t>1</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ct val="0"/>
                        </a:spcBef>
                        <a:spcAft>
                          <a:spcPts val="0"/>
                        </a:spcAft>
                        <a:buClrTx/>
                        <a:buSzTx/>
                        <a:buFont typeface="+mj-lt"/>
                        <a:buNone/>
                        <a:tabLst/>
                        <a:defRPr/>
                      </a:pPr>
                      <a:r>
                        <a:rPr kumimoji="0" lang="en-US" sz="900" b="0" u="none" strike="noStrike" kern="1200" cap="none" spc="0" normalizeH="0" baseline="0" noProof="0">
                          <a:ln>
                            <a:noFill/>
                          </a:ln>
                          <a:solidFill>
                            <a:schemeClr val="tx1"/>
                          </a:solidFill>
                          <a:effectLst/>
                          <a:uLnTx/>
                          <a:uFillTx/>
                        </a:rPr>
                        <a:t>Determine and implement necessary tooling</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232429184"/>
                  </a:ext>
                </a:extLst>
              </a:tr>
              <a:tr h="389850">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lign priorities between DG Office and Data Owners/Steward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877248337"/>
                  </a:ext>
                </a:extLst>
              </a:tr>
              <a:tr h="38774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Perform Data Lineage documentation</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90949231"/>
                  </a:ext>
                </a:extLst>
              </a:tr>
              <a:tr h="243656">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1</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Define scope of DDA’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05045112"/>
                  </a:ext>
                </a:extLst>
              </a:tr>
              <a:tr h="38774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900" noProof="0"/>
                        <a:t>Standard DDA template</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855415596"/>
                  </a:ext>
                </a:extLst>
              </a:tr>
              <a:tr h="243656">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Training</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82517761"/>
                  </a:ext>
                </a:extLst>
              </a:tr>
              <a:tr h="38774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4</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Implement DDA’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83543135"/>
                  </a:ext>
                </a:extLst>
              </a:tr>
              <a:tr h="243656">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1</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Review applicable regulation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18717978"/>
                  </a:ext>
                </a:extLst>
              </a:tr>
              <a:tr h="38774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ssess Data Management policie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71279260"/>
                  </a:ext>
                </a:extLst>
              </a:tr>
              <a:tr h="387749">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djust DM/DG processe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196165769"/>
                  </a:ext>
                </a:extLst>
              </a:tr>
              <a:tr h="243656">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1</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Assess existing Data Quality program</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586027968"/>
                  </a:ext>
                </a:extLst>
              </a:tr>
              <a:tr h="389850">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2</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solidFill>
                            <a:schemeClr val="tx1"/>
                          </a:solidFill>
                        </a:rPr>
                        <a:t>Design and kick off new Data Quality program</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92878971"/>
                  </a:ext>
                </a:extLst>
              </a:tr>
              <a:tr h="243656">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r>
                        <a:rPr lang="en-US" sz="900"/>
                        <a:t>3</a:t>
                      </a:r>
                    </a:p>
                  </a:txBody>
                  <a:tcPr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Calibri" panose="020F0502020204030204"/>
                        </a:defRPr>
                      </a:lvl1pPr>
                      <a:lvl2pPr marL="342892" algn="l" defTabSz="685783" rtl="0" eaLnBrk="1" latinLnBrk="0" hangingPunct="1">
                        <a:defRPr sz="1350" kern="1200">
                          <a:solidFill>
                            <a:schemeClr val="tx1"/>
                          </a:solidFill>
                          <a:latin typeface="Calibri" panose="020F0502020204030204"/>
                        </a:defRPr>
                      </a:lvl2pPr>
                      <a:lvl3pPr marL="685783" algn="l" defTabSz="685783" rtl="0" eaLnBrk="1" latinLnBrk="0" hangingPunct="1">
                        <a:defRPr sz="1350" kern="1200">
                          <a:solidFill>
                            <a:schemeClr val="tx1"/>
                          </a:solidFill>
                          <a:latin typeface="Calibri" panose="020F0502020204030204"/>
                        </a:defRPr>
                      </a:lvl3pPr>
                      <a:lvl4pPr marL="1028675" algn="l" defTabSz="685783" rtl="0" eaLnBrk="1" latinLnBrk="0" hangingPunct="1">
                        <a:defRPr sz="1350" kern="1200">
                          <a:solidFill>
                            <a:schemeClr val="tx1"/>
                          </a:solidFill>
                          <a:latin typeface="Calibri" panose="020F0502020204030204"/>
                        </a:defRPr>
                      </a:lvl4pPr>
                      <a:lvl5pPr marL="1371566" algn="l" defTabSz="685783" rtl="0" eaLnBrk="1" latinLnBrk="0" hangingPunct="1">
                        <a:defRPr sz="1350" kern="1200">
                          <a:solidFill>
                            <a:schemeClr val="tx1"/>
                          </a:solidFill>
                          <a:latin typeface="Calibri" panose="020F0502020204030204"/>
                        </a:defRPr>
                      </a:lvl5pPr>
                      <a:lvl6pPr marL="1714457" algn="l" defTabSz="685783" rtl="0" eaLnBrk="1" latinLnBrk="0" hangingPunct="1">
                        <a:defRPr sz="1350" kern="1200">
                          <a:solidFill>
                            <a:schemeClr val="tx1"/>
                          </a:solidFill>
                          <a:latin typeface="Calibri" panose="020F0502020204030204"/>
                        </a:defRPr>
                      </a:lvl6pPr>
                      <a:lvl7pPr marL="2057348" algn="l" defTabSz="685783" rtl="0" eaLnBrk="1" latinLnBrk="0" hangingPunct="1">
                        <a:defRPr sz="1350" kern="1200">
                          <a:solidFill>
                            <a:schemeClr val="tx1"/>
                          </a:solidFill>
                          <a:latin typeface="Calibri" panose="020F0502020204030204"/>
                        </a:defRPr>
                      </a:lvl7pPr>
                      <a:lvl8pPr marL="2400240" algn="l" defTabSz="685783" rtl="0" eaLnBrk="1" latinLnBrk="0" hangingPunct="1">
                        <a:defRPr sz="1350" kern="1200">
                          <a:solidFill>
                            <a:schemeClr val="tx1"/>
                          </a:solidFill>
                          <a:latin typeface="Calibri" panose="020F0502020204030204"/>
                        </a:defRPr>
                      </a:lvl8pPr>
                      <a:lvl9pPr marL="2743132" algn="l" defTabSz="685783" rtl="0" eaLnBrk="1" latinLnBrk="0" hangingPunct="1">
                        <a:defRPr sz="1350" kern="1200">
                          <a:solidFill>
                            <a:schemeClr val="tx1"/>
                          </a:solidFill>
                          <a:latin typeface="Calibri" panose="020F0502020204030204"/>
                        </a:defRPr>
                      </a:lvl9pPr>
                    </a:lstStyle>
                    <a:p>
                      <a:pPr rtl="0">
                        <a:spcBef>
                          <a:spcPct val="0"/>
                        </a:spcBef>
                      </a:pPr>
                      <a:r>
                        <a:rPr lang="en-US" sz="900" noProof="0"/>
                        <a:t>Determine necessary tooling</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916524812"/>
                  </a:ext>
                </a:extLst>
              </a:tr>
            </a:tbl>
          </a:graphicData>
        </a:graphic>
      </p:graphicFrame>
      <p:sp>
        <p:nvSpPr>
          <p:cNvPr id="28" name="Rectangle 27">
            <a:extLst>
              <a:ext uri="{FF2B5EF4-FFF2-40B4-BE49-F238E27FC236}">
                <a16:creationId xmlns:a16="http://schemas.microsoft.com/office/drawing/2014/main" id="{698EFAB8-11AE-4423-AEFF-9FD844813B6D}"/>
              </a:ext>
            </a:extLst>
          </p:cNvPr>
          <p:cNvSpPr/>
          <p:nvPr/>
        </p:nvSpPr>
        <p:spPr>
          <a:xfrm>
            <a:off x="7356609" y="2515093"/>
            <a:ext cx="700951"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29" name="Rectangle 28">
            <a:extLst>
              <a:ext uri="{FF2B5EF4-FFF2-40B4-BE49-F238E27FC236}">
                <a16:creationId xmlns:a16="http://schemas.microsoft.com/office/drawing/2014/main" id="{7A35D334-B64F-475A-9233-6681DAA9566B}"/>
              </a:ext>
            </a:extLst>
          </p:cNvPr>
          <p:cNvSpPr/>
          <p:nvPr/>
        </p:nvSpPr>
        <p:spPr>
          <a:xfrm>
            <a:off x="8077280" y="2886401"/>
            <a:ext cx="3562776" cy="17997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33" name="Rectangle 32">
            <a:extLst>
              <a:ext uri="{FF2B5EF4-FFF2-40B4-BE49-F238E27FC236}">
                <a16:creationId xmlns:a16="http://schemas.microsoft.com/office/drawing/2014/main" id="{8E2FEED1-DCAD-4134-BEB7-AF1D7CA97DB1}"/>
              </a:ext>
            </a:extLst>
          </p:cNvPr>
          <p:cNvSpPr/>
          <p:nvPr/>
        </p:nvSpPr>
        <p:spPr>
          <a:xfrm>
            <a:off x="7356609" y="3226986"/>
            <a:ext cx="700951"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34" name="Rectangle 33">
            <a:extLst>
              <a:ext uri="{FF2B5EF4-FFF2-40B4-BE49-F238E27FC236}">
                <a16:creationId xmlns:a16="http://schemas.microsoft.com/office/drawing/2014/main" id="{4CB2051C-97C3-41E2-98E9-05883FD6F99D}"/>
              </a:ext>
            </a:extLst>
          </p:cNvPr>
          <p:cNvSpPr/>
          <p:nvPr/>
        </p:nvSpPr>
        <p:spPr>
          <a:xfrm>
            <a:off x="7356609" y="6118879"/>
            <a:ext cx="700951"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35" name="Rectangle 34">
            <a:extLst>
              <a:ext uri="{FF2B5EF4-FFF2-40B4-BE49-F238E27FC236}">
                <a16:creationId xmlns:a16="http://schemas.microsoft.com/office/drawing/2014/main" id="{80C7E40D-AADF-4512-8F27-61800CA5D5F5}"/>
              </a:ext>
            </a:extLst>
          </p:cNvPr>
          <p:cNvSpPr/>
          <p:nvPr/>
        </p:nvSpPr>
        <p:spPr>
          <a:xfrm>
            <a:off x="8060772" y="3837690"/>
            <a:ext cx="3562775"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36" name="Rectangle 35">
            <a:extLst>
              <a:ext uri="{FF2B5EF4-FFF2-40B4-BE49-F238E27FC236}">
                <a16:creationId xmlns:a16="http://schemas.microsoft.com/office/drawing/2014/main" id="{4E1BFA02-BC03-42D0-8E7F-3D7198DF04E1}"/>
              </a:ext>
            </a:extLst>
          </p:cNvPr>
          <p:cNvSpPr/>
          <p:nvPr/>
        </p:nvSpPr>
        <p:spPr>
          <a:xfrm>
            <a:off x="8240773" y="4118969"/>
            <a:ext cx="3382774"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4</a:t>
            </a:r>
          </a:p>
        </p:txBody>
      </p:sp>
      <p:sp>
        <p:nvSpPr>
          <p:cNvPr id="37" name="Rectangle 36">
            <a:extLst>
              <a:ext uri="{FF2B5EF4-FFF2-40B4-BE49-F238E27FC236}">
                <a16:creationId xmlns:a16="http://schemas.microsoft.com/office/drawing/2014/main" id="{6883CE09-8FB4-42D7-870D-C7C1066A1CCD}"/>
              </a:ext>
            </a:extLst>
          </p:cNvPr>
          <p:cNvSpPr/>
          <p:nvPr/>
        </p:nvSpPr>
        <p:spPr>
          <a:xfrm>
            <a:off x="6641855" y="4493227"/>
            <a:ext cx="3600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38" name="Rectangle 37">
            <a:extLst>
              <a:ext uri="{FF2B5EF4-FFF2-40B4-BE49-F238E27FC236}">
                <a16:creationId xmlns:a16="http://schemas.microsoft.com/office/drawing/2014/main" id="{C8F85A77-5785-4B58-AB50-33A0BB89B65F}"/>
              </a:ext>
            </a:extLst>
          </p:cNvPr>
          <p:cNvSpPr/>
          <p:nvPr/>
        </p:nvSpPr>
        <p:spPr>
          <a:xfrm>
            <a:off x="6797709" y="4819981"/>
            <a:ext cx="3600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39" name="Rectangle 38">
            <a:extLst>
              <a:ext uri="{FF2B5EF4-FFF2-40B4-BE49-F238E27FC236}">
                <a16:creationId xmlns:a16="http://schemas.microsoft.com/office/drawing/2014/main" id="{FB465217-E9E0-4F96-9B06-EC6B4BB76BA0}"/>
              </a:ext>
            </a:extLst>
          </p:cNvPr>
          <p:cNvSpPr/>
          <p:nvPr/>
        </p:nvSpPr>
        <p:spPr>
          <a:xfrm>
            <a:off x="6977709" y="5146735"/>
            <a:ext cx="3600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40" name="Rectangle 39">
            <a:extLst>
              <a:ext uri="{FF2B5EF4-FFF2-40B4-BE49-F238E27FC236}">
                <a16:creationId xmlns:a16="http://schemas.microsoft.com/office/drawing/2014/main" id="{20D8B45C-4678-4067-9588-0E2BA713C9B1}"/>
              </a:ext>
            </a:extLst>
          </p:cNvPr>
          <p:cNvSpPr/>
          <p:nvPr/>
        </p:nvSpPr>
        <p:spPr>
          <a:xfrm>
            <a:off x="6641855" y="5473489"/>
            <a:ext cx="360000" cy="180000"/>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41" name="Rectangle 40">
            <a:extLst>
              <a:ext uri="{FF2B5EF4-FFF2-40B4-BE49-F238E27FC236}">
                <a16:creationId xmlns:a16="http://schemas.microsoft.com/office/drawing/2014/main" id="{E8DEA72A-23BA-4C1C-A923-62C703B0E8BA}"/>
              </a:ext>
            </a:extLst>
          </p:cNvPr>
          <p:cNvSpPr/>
          <p:nvPr/>
        </p:nvSpPr>
        <p:spPr>
          <a:xfrm>
            <a:off x="7356609" y="5800549"/>
            <a:ext cx="4287903" cy="179969"/>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grpSp>
        <p:nvGrpSpPr>
          <p:cNvPr id="42" name="Group 41">
            <a:extLst>
              <a:ext uri="{FF2B5EF4-FFF2-40B4-BE49-F238E27FC236}">
                <a16:creationId xmlns:a16="http://schemas.microsoft.com/office/drawing/2014/main" id="{843A3DF8-BC24-44C0-9634-118CA229B327}"/>
              </a:ext>
            </a:extLst>
          </p:cNvPr>
          <p:cNvGrpSpPr/>
          <p:nvPr/>
        </p:nvGrpSpPr>
        <p:grpSpPr>
          <a:xfrm>
            <a:off x="10697773" y="5799881"/>
            <a:ext cx="874572" cy="168103"/>
            <a:chOff x="10461746" y="5916428"/>
            <a:chExt cx="1085529" cy="168150"/>
          </a:xfrm>
        </p:grpSpPr>
        <p:cxnSp>
          <p:nvCxnSpPr>
            <p:cNvPr id="43" name="Straight Arrow Connector 42">
              <a:extLst>
                <a:ext uri="{FF2B5EF4-FFF2-40B4-BE49-F238E27FC236}">
                  <a16:creationId xmlns:a16="http://schemas.microsoft.com/office/drawing/2014/main" id="{CE9938FB-21DE-4194-86FF-772F947B8AEE}"/>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44" name="Rectangle 43">
              <a:extLst>
                <a:ext uri="{FF2B5EF4-FFF2-40B4-BE49-F238E27FC236}">
                  <a16:creationId xmlns:a16="http://schemas.microsoft.com/office/drawing/2014/main" id="{67008B16-AC71-4464-BC1D-70AEB43C2C13}"/>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sp>
        <p:nvSpPr>
          <p:cNvPr id="45" name="Rectangle 44">
            <a:extLst>
              <a:ext uri="{FF2B5EF4-FFF2-40B4-BE49-F238E27FC236}">
                <a16:creationId xmlns:a16="http://schemas.microsoft.com/office/drawing/2014/main" id="{232E4023-3449-4017-BAD7-DE8C99D7096B}"/>
              </a:ext>
            </a:extLst>
          </p:cNvPr>
          <p:cNvSpPr/>
          <p:nvPr/>
        </p:nvSpPr>
        <p:spPr>
          <a:xfrm>
            <a:off x="7356609" y="3505693"/>
            <a:ext cx="700951" cy="180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46" name="Rectangle 56">
            <a:extLst>
              <a:ext uri="{FF2B5EF4-FFF2-40B4-BE49-F238E27FC236}">
                <a16:creationId xmlns:a16="http://schemas.microsoft.com/office/drawing/2014/main" id="{E1E92368-5E4C-4402-9FCE-4F8F9614C2DC}"/>
              </a:ext>
            </a:extLst>
          </p:cNvPr>
          <p:cNvSpPr/>
          <p:nvPr/>
        </p:nvSpPr>
        <p:spPr>
          <a:xfrm>
            <a:off x="4130944" y="1522327"/>
            <a:ext cx="1066339" cy="284400"/>
          </a:xfrm>
          <a:prstGeom prst="rect">
            <a:avLst/>
          </a:prstGeom>
          <a:solidFill>
            <a:srgbClr val="001F5B"/>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2-2022</a:t>
            </a:r>
          </a:p>
        </p:txBody>
      </p:sp>
      <p:sp>
        <p:nvSpPr>
          <p:cNvPr id="47" name="Rectangle 56">
            <a:extLst>
              <a:ext uri="{FF2B5EF4-FFF2-40B4-BE49-F238E27FC236}">
                <a16:creationId xmlns:a16="http://schemas.microsoft.com/office/drawing/2014/main" id="{3E27711D-C546-4F31-AA14-37D499D0D10B}"/>
              </a:ext>
            </a:extLst>
          </p:cNvPr>
          <p:cNvSpPr/>
          <p:nvPr/>
        </p:nvSpPr>
        <p:spPr>
          <a:xfrm>
            <a:off x="5206166" y="1522327"/>
            <a:ext cx="1066339" cy="284400"/>
          </a:xfrm>
          <a:prstGeom prst="rect">
            <a:avLst/>
          </a:prstGeom>
          <a:solidFill>
            <a:srgbClr val="001F5B"/>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3-2022</a:t>
            </a:r>
          </a:p>
        </p:txBody>
      </p:sp>
      <p:sp>
        <p:nvSpPr>
          <p:cNvPr id="48" name="Rectangle 56">
            <a:extLst>
              <a:ext uri="{FF2B5EF4-FFF2-40B4-BE49-F238E27FC236}">
                <a16:creationId xmlns:a16="http://schemas.microsoft.com/office/drawing/2014/main" id="{76C2B55E-8B34-4F35-99C3-9E72470FAC70}"/>
              </a:ext>
            </a:extLst>
          </p:cNvPr>
          <p:cNvSpPr/>
          <p:nvPr/>
        </p:nvSpPr>
        <p:spPr>
          <a:xfrm>
            <a:off x="7356610"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1-2023</a:t>
            </a:r>
          </a:p>
        </p:txBody>
      </p:sp>
      <p:sp>
        <p:nvSpPr>
          <p:cNvPr id="49" name="Rectangle 56">
            <a:extLst>
              <a:ext uri="{FF2B5EF4-FFF2-40B4-BE49-F238E27FC236}">
                <a16:creationId xmlns:a16="http://schemas.microsoft.com/office/drawing/2014/main" id="{383BFCE8-AFB0-4DFB-B50E-8AE486CA19B4}"/>
              </a:ext>
            </a:extLst>
          </p:cNvPr>
          <p:cNvSpPr/>
          <p:nvPr/>
        </p:nvSpPr>
        <p:spPr>
          <a:xfrm>
            <a:off x="8431832"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2-2023</a:t>
            </a:r>
          </a:p>
        </p:txBody>
      </p:sp>
      <p:sp>
        <p:nvSpPr>
          <p:cNvPr id="50" name="Rectangle 56">
            <a:extLst>
              <a:ext uri="{FF2B5EF4-FFF2-40B4-BE49-F238E27FC236}">
                <a16:creationId xmlns:a16="http://schemas.microsoft.com/office/drawing/2014/main" id="{78775721-43B5-4945-BCD2-AA96B500F000}"/>
              </a:ext>
            </a:extLst>
          </p:cNvPr>
          <p:cNvSpPr/>
          <p:nvPr/>
        </p:nvSpPr>
        <p:spPr>
          <a:xfrm>
            <a:off x="6281388" y="1522327"/>
            <a:ext cx="1066339" cy="284400"/>
          </a:xfrm>
          <a:prstGeom prst="rect">
            <a:avLst/>
          </a:prstGeom>
          <a:solidFill>
            <a:srgbClr val="001F5B"/>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4-2022</a:t>
            </a:r>
          </a:p>
        </p:txBody>
      </p:sp>
      <p:sp>
        <p:nvSpPr>
          <p:cNvPr id="51" name="Rectangle 56">
            <a:extLst>
              <a:ext uri="{FF2B5EF4-FFF2-40B4-BE49-F238E27FC236}">
                <a16:creationId xmlns:a16="http://schemas.microsoft.com/office/drawing/2014/main" id="{7FD250D9-A35F-4625-A932-42A74ACA4700}"/>
              </a:ext>
            </a:extLst>
          </p:cNvPr>
          <p:cNvSpPr/>
          <p:nvPr/>
        </p:nvSpPr>
        <p:spPr>
          <a:xfrm>
            <a:off x="9507054"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3-2023</a:t>
            </a:r>
          </a:p>
        </p:txBody>
      </p:sp>
      <p:sp>
        <p:nvSpPr>
          <p:cNvPr id="52" name="Rectangle 56">
            <a:extLst>
              <a:ext uri="{FF2B5EF4-FFF2-40B4-BE49-F238E27FC236}">
                <a16:creationId xmlns:a16="http://schemas.microsoft.com/office/drawing/2014/main" id="{D154B88C-6D76-44F4-9553-AFF508D15ACA}"/>
              </a:ext>
            </a:extLst>
          </p:cNvPr>
          <p:cNvSpPr/>
          <p:nvPr/>
        </p:nvSpPr>
        <p:spPr>
          <a:xfrm>
            <a:off x="10582275" y="1522327"/>
            <a:ext cx="1066339" cy="284400"/>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Q4-2023</a:t>
            </a:r>
          </a:p>
        </p:txBody>
      </p:sp>
      <p:sp>
        <p:nvSpPr>
          <p:cNvPr id="53" name="Rectangle 56">
            <a:extLst>
              <a:ext uri="{FF2B5EF4-FFF2-40B4-BE49-F238E27FC236}">
                <a16:creationId xmlns:a16="http://schemas.microsoft.com/office/drawing/2014/main" id="{766CF3E7-0911-4917-8B7E-0B4328959C98}"/>
              </a:ext>
            </a:extLst>
          </p:cNvPr>
          <p:cNvSpPr/>
          <p:nvPr/>
        </p:nvSpPr>
        <p:spPr>
          <a:xfrm>
            <a:off x="4132548"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pr</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56">
            <a:extLst>
              <a:ext uri="{FF2B5EF4-FFF2-40B4-BE49-F238E27FC236}">
                <a16:creationId xmlns:a16="http://schemas.microsoft.com/office/drawing/2014/main" id="{3A43E32A-67EF-4BCC-9296-CB3C85C9135C}"/>
              </a:ext>
            </a:extLst>
          </p:cNvPr>
          <p:cNvSpPr/>
          <p:nvPr/>
        </p:nvSpPr>
        <p:spPr>
          <a:xfrm>
            <a:off x="4491160"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May</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6">
            <a:extLst>
              <a:ext uri="{FF2B5EF4-FFF2-40B4-BE49-F238E27FC236}">
                <a16:creationId xmlns:a16="http://schemas.microsoft.com/office/drawing/2014/main" id="{6BD12DA4-A3B5-4EAB-8973-C167B2DA55DB}"/>
              </a:ext>
            </a:extLst>
          </p:cNvPr>
          <p:cNvSpPr/>
          <p:nvPr/>
        </p:nvSpPr>
        <p:spPr>
          <a:xfrm>
            <a:off x="4849772"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n</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6">
            <a:extLst>
              <a:ext uri="{FF2B5EF4-FFF2-40B4-BE49-F238E27FC236}">
                <a16:creationId xmlns:a16="http://schemas.microsoft.com/office/drawing/2014/main" id="{BCCD67D7-F9DE-4D3C-8764-2835D03CED9F}"/>
              </a:ext>
            </a:extLst>
          </p:cNvPr>
          <p:cNvSpPr/>
          <p:nvPr/>
        </p:nvSpPr>
        <p:spPr>
          <a:xfrm>
            <a:off x="5208384"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l</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ABE7AF24-3FAD-4922-99E2-10E72C2664B5}"/>
              </a:ext>
            </a:extLst>
          </p:cNvPr>
          <p:cNvSpPr/>
          <p:nvPr/>
        </p:nvSpPr>
        <p:spPr>
          <a:xfrm>
            <a:off x="5566996"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ug</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6">
            <a:extLst>
              <a:ext uri="{FF2B5EF4-FFF2-40B4-BE49-F238E27FC236}">
                <a16:creationId xmlns:a16="http://schemas.microsoft.com/office/drawing/2014/main" id="{ACD6F278-1D5A-4444-810C-0D2755908747}"/>
              </a:ext>
            </a:extLst>
          </p:cNvPr>
          <p:cNvSpPr/>
          <p:nvPr/>
        </p:nvSpPr>
        <p:spPr>
          <a:xfrm>
            <a:off x="5925608"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Sep</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6">
            <a:extLst>
              <a:ext uri="{FF2B5EF4-FFF2-40B4-BE49-F238E27FC236}">
                <a16:creationId xmlns:a16="http://schemas.microsoft.com/office/drawing/2014/main" id="{8DA67230-AB72-4A38-A85F-DCB7C6095E56}"/>
              </a:ext>
            </a:extLst>
          </p:cNvPr>
          <p:cNvSpPr/>
          <p:nvPr/>
        </p:nvSpPr>
        <p:spPr>
          <a:xfrm>
            <a:off x="6284220"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Oct</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angle 56">
            <a:extLst>
              <a:ext uri="{FF2B5EF4-FFF2-40B4-BE49-F238E27FC236}">
                <a16:creationId xmlns:a16="http://schemas.microsoft.com/office/drawing/2014/main" id="{13A8FD68-FE4F-4E08-8EA7-CEE190D74BF0}"/>
              </a:ext>
            </a:extLst>
          </p:cNvPr>
          <p:cNvSpPr/>
          <p:nvPr/>
        </p:nvSpPr>
        <p:spPr>
          <a:xfrm>
            <a:off x="6642832"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Nov</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56">
            <a:extLst>
              <a:ext uri="{FF2B5EF4-FFF2-40B4-BE49-F238E27FC236}">
                <a16:creationId xmlns:a16="http://schemas.microsoft.com/office/drawing/2014/main" id="{7BE15EDE-AC30-4855-A501-88931B13D604}"/>
              </a:ext>
            </a:extLst>
          </p:cNvPr>
          <p:cNvSpPr/>
          <p:nvPr/>
        </p:nvSpPr>
        <p:spPr>
          <a:xfrm>
            <a:off x="7001444" y="1820091"/>
            <a:ext cx="345600" cy="180000"/>
          </a:xfrm>
          <a:prstGeom prst="rect">
            <a:avLst/>
          </a:prstGeom>
          <a:solidFill>
            <a:srgbClr val="001F5B"/>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Dec</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56">
            <a:extLst>
              <a:ext uri="{FF2B5EF4-FFF2-40B4-BE49-F238E27FC236}">
                <a16:creationId xmlns:a16="http://schemas.microsoft.com/office/drawing/2014/main" id="{A50E3E33-B993-4322-BBBE-FCE6CD2DEEA9}"/>
              </a:ext>
            </a:extLst>
          </p:cNvPr>
          <p:cNvSpPr/>
          <p:nvPr/>
        </p:nvSpPr>
        <p:spPr>
          <a:xfrm>
            <a:off x="7360056"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an</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Rectangle 56">
            <a:extLst>
              <a:ext uri="{FF2B5EF4-FFF2-40B4-BE49-F238E27FC236}">
                <a16:creationId xmlns:a16="http://schemas.microsoft.com/office/drawing/2014/main" id="{DD18C29A-A029-4984-BC6E-E61E32F71DF5}"/>
              </a:ext>
            </a:extLst>
          </p:cNvPr>
          <p:cNvSpPr/>
          <p:nvPr/>
        </p:nvSpPr>
        <p:spPr>
          <a:xfrm>
            <a:off x="7718668"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Feb</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56">
            <a:extLst>
              <a:ext uri="{FF2B5EF4-FFF2-40B4-BE49-F238E27FC236}">
                <a16:creationId xmlns:a16="http://schemas.microsoft.com/office/drawing/2014/main" id="{E95DB9D3-9153-4FBF-8808-DAC0FA3D11DB}"/>
              </a:ext>
            </a:extLst>
          </p:cNvPr>
          <p:cNvSpPr/>
          <p:nvPr/>
        </p:nvSpPr>
        <p:spPr>
          <a:xfrm>
            <a:off x="8077280"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Mar</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56">
            <a:extLst>
              <a:ext uri="{FF2B5EF4-FFF2-40B4-BE49-F238E27FC236}">
                <a16:creationId xmlns:a16="http://schemas.microsoft.com/office/drawing/2014/main" id="{4CA85261-D83F-4BF7-9B09-66617FBC78FF}"/>
              </a:ext>
            </a:extLst>
          </p:cNvPr>
          <p:cNvSpPr/>
          <p:nvPr/>
        </p:nvSpPr>
        <p:spPr>
          <a:xfrm>
            <a:off x="8435892"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pr</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56">
            <a:extLst>
              <a:ext uri="{FF2B5EF4-FFF2-40B4-BE49-F238E27FC236}">
                <a16:creationId xmlns:a16="http://schemas.microsoft.com/office/drawing/2014/main" id="{CAD73DBC-8331-4C75-B47A-6E1577C5C8F4}"/>
              </a:ext>
            </a:extLst>
          </p:cNvPr>
          <p:cNvSpPr/>
          <p:nvPr/>
        </p:nvSpPr>
        <p:spPr>
          <a:xfrm>
            <a:off x="8794504"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May</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56">
            <a:extLst>
              <a:ext uri="{FF2B5EF4-FFF2-40B4-BE49-F238E27FC236}">
                <a16:creationId xmlns:a16="http://schemas.microsoft.com/office/drawing/2014/main" id="{839397B3-4774-4BDE-9B1A-9CB0E455C8B4}"/>
              </a:ext>
            </a:extLst>
          </p:cNvPr>
          <p:cNvSpPr/>
          <p:nvPr/>
        </p:nvSpPr>
        <p:spPr>
          <a:xfrm>
            <a:off x="9153116"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n</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56">
            <a:extLst>
              <a:ext uri="{FF2B5EF4-FFF2-40B4-BE49-F238E27FC236}">
                <a16:creationId xmlns:a16="http://schemas.microsoft.com/office/drawing/2014/main" id="{BFFF1146-A948-4D03-AE5F-87DF7423C33D}"/>
              </a:ext>
            </a:extLst>
          </p:cNvPr>
          <p:cNvSpPr/>
          <p:nvPr/>
        </p:nvSpPr>
        <p:spPr>
          <a:xfrm>
            <a:off x="9511728"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Jul</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56">
            <a:extLst>
              <a:ext uri="{FF2B5EF4-FFF2-40B4-BE49-F238E27FC236}">
                <a16:creationId xmlns:a16="http://schemas.microsoft.com/office/drawing/2014/main" id="{A451602B-5648-4F1F-AF6E-DF674227267D}"/>
              </a:ext>
            </a:extLst>
          </p:cNvPr>
          <p:cNvSpPr/>
          <p:nvPr/>
        </p:nvSpPr>
        <p:spPr>
          <a:xfrm>
            <a:off x="9870340"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Aug</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56">
            <a:extLst>
              <a:ext uri="{FF2B5EF4-FFF2-40B4-BE49-F238E27FC236}">
                <a16:creationId xmlns:a16="http://schemas.microsoft.com/office/drawing/2014/main" id="{B2DB180C-7E01-4F89-AC74-3023A6D22FAB}"/>
              </a:ext>
            </a:extLst>
          </p:cNvPr>
          <p:cNvSpPr/>
          <p:nvPr/>
        </p:nvSpPr>
        <p:spPr>
          <a:xfrm>
            <a:off x="10228952"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Sep</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56">
            <a:extLst>
              <a:ext uri="{FF2B5EF4-FFF2-40B4-BE49-F238E27FC236}">
                <a16:creationId xmlns:a16="http://schemas.microsoft.com/office/drawing/2014/main" id="{88110EFA-238A-4D3E-9FA3-0D1A97B82451}"/>
              </a:ext>
            </a:extLst>
          </p:cNvPr>
          <p:cNvSpPr/>
          <p:nvPr/>
        </p:nvSpPr>
        <p:spPr>
          <a:xfrm>
            <a:off x="10587564"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Oct</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56">
            <a:extLst>
              <a:ext uri="{FF2B5EF4-FFF2-40B4-BE49-F238E27FC236}">
                <a16:creationId xmlns:a16="http://schemas.microsoft.com/office/drawing/2014/main" id="{532EF0DE-1C41-4A22-BEFA-5E36FC9558AE}"/>
              </a:ext>
            </a:extLst>
          </p:cNvPr>
          <p:cNvSpPr/>
          <p:nvPr/>
        </p:nvSpPr>
        <p:spPr>
          <a:xfrm>
            <a:off x="10946176" y="1820091"/>
            <a:ext cx="3456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Nov</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56">
            <a:extLst>
              <a:ext uri="{FF2B5EF4-FFF2-40B4-BE49-F238E27FC236}">
                <a16:creationId xmlns:a16="http://schemas.microsoft.com/office/drawing/2014/main" id="{5BC013E2-805A-4053-B675-76AF9083B85D}"/>
              </a:ext>
            </a:extLst>
          </p:cNvPr>
          <p:cNvSpPr/>
          <p:nvPr/>
        </p:nvSpPr>
        <p:spPr>
          <a:xfrm>
            <a:off x="11304782" y="1820091"/>
            <a:ext cx="342000" cy="180000"/>
          </a:xfrm>
          <a:prstGeom prst="rect">
            <a:avLst/>
          </a:prstGeom>
          <a:solidFill>
            <a:srgbClr val="70AD47"/>
          </a:solidFill>
          <a:ln w="3175" cap="flat" cmpd="sng" algn="ctr">
            <a:solidFill>
              <a:sysClr val="window" lastClr="FFFFFF"/>
            </a:solidFill>
            <a:prstDash val="solid"/>
            <a:miter lim="800000"/>
          </a:ln>
          <a:effectLst/>
        </p:spPr>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panose="020F0502020204030204"/>
                <a:ea typeface="+mn-ea"/>
                <a:cs typeface="+mn-cs"/>
              </a:rPr>
              <a:t>Dec</a:t>
            </a:r>
            <a:endParaRPr kumimoji="0" lang="en-US" sz="10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56DFC8D6-1BAD-434F-B0D6-F65C5FAA76B7}"/>
              </a:ext>
            </a:extLst>
          </p:cNvPr>
          <p:cNvSpPr/>
          <p:nvPr/>
        </p:nvSpPr>
        <p:spPr>
          <a:xfrm>
            <a:off x="5033553" y="2028825"/>
            <a:ext cx="268423"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75" name="Rectangle 74">
            <a:extLst>
              <a:ext uri="{FF2B5EF4-FFF2-40B4-BE49-F238E27FC236}">
                <a16:creationId xmlns:a16="http://schemas.microsoft.com/office/drawing/2014/main" id="{BBFCA8ED-542D-4013-A97D-07412C9B9DCF}"/>
              </a:ext>
            </a:extLst>
          </p:cNvPr>
          <p:cNvSpPr/>
          <p:nvPr/>
        </p:nvSpPr>
        <p:spPr>
          <a:xfrm>
            <a:off x="5206166" y="2237555"/>
            <a:ext cx="212925"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76" name="Rectangle 75">
            <a:extLst>
              <a:ext uri="{FF2B5EF4-FFF2-40B4-BE49-F238E27FC236}">
                <a16:creationId xmlns:a16="http://schemas.microsoft.com/office/drawing/2014/main" id="{39EC0932-42C0-4B6A-A50B-74B8E082B7BD}"/>
              </a:ext>
            </a:extLst>
          </p:cNvPr>
          <p:cNvSpPr/>
          <p:nvPr/>
        </p:nvSpPr>
        <p:spPr>
          <a:xfrm>
            <a:off x="5334726" y="2539453"/>
            <a:ext cx="212925" cy="179996"/>
          </a:xfrm>
          <a:prstGeom prst="rect">
            <a:avLst/>
          </a:prstGeom>
          <a:solidFill>
            <a:srgbClr val="001F5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grpSp>
        <p:nvGrpSpPr>
          <p:cNvPr id="77" name="Group 76">
            <a:extLst>
              <a:ext uri="{FF2B5EF4-FFF2-40B4-BE49-F238E27FC236}">
                <a16:creationId xmlns:a16="http://schemas.microsoft.com/office/drawing/2014/main" id="{80F76C66-5EBA-4B76-B1F9-9666EEF48ED9}"/>
              </a:ext>
            </a:extLst>
          </p:cNvPr>
          <p:cNvGrpSpPr/>
          <p:nvPr/>
        </p:nvGrpSpPr>
        <p:grpSpPr>
          <a:xfrm>
            <a:off x="4147395" y="1310456"/>
            <a:ext cx="3191152" cy="188149"/>
            <a:chOff x="2765118" y="972660"/>
            <a:chExt cx="5076000" cy="188149"/>
          </a:xfrm>
        </p:grpSpPr>
        <p:cxnSp>
          <p:nvCxnSpPr>
            <p:cNvPr id="78" name="Straight Connector 77">
              <a:extLst>
                <a:ext uri="{FF2B5EF4-FFF2-40B4-BE49-F238E27FC236}">
                  <a16:creationId xmlns:a16="http://schemas.microsoft.com/office/drawing/2014/main" id="{2B2CDEA2-19C0-4298-9EBC-F59AEB4EF888}"/>
                </a:ext>
              </a:extLst>
            </p:cNvPr>
            <p:cNvCxnSpPr>
              <a:cxnSpLocks/>
            </p:cNvCxnSpPr>
            <p:nvPr/>
          </p:nvCxnSpPr>
          <p:spPr>
            <a:xfrm>
              <a:off x="2765118" y="1098908"/>
              <a:ext cx="5076000" cy="0"/>
            </a:xfrm>
            <a:prstGeom prst="line">
              <a:avLst/>
            </a:prstGeom>
            <a:noFill/>
            <a:ln w="15875" cap="flat" cmpd="sng" algn="ctr">
              <a:solidFill>
                <a:srgbClr val="001F5B"/>
              </a:solidFill>
              <a:prstDash val="solid"/>
              <a:miter lim="800000"/>
              <a:tailEnd type="none"/>
            </a:ln>
            <a:effectLst/>
          </p:spPr>
        </p:cxnSp>
        <p:sp>
          <p:nvSpPr>
            <p:cNvPr id="79" name="Rectangle 78">
              <a:extLst>
                <a:ext uri="{FF2B5EF4-FFF2-40B4-BE49-F238E27FC236}">
                  <a16:creationId xmlns:a16="http://schemas.microsoft.com/office/drawing/2014/main" id="{5D9CD9A6-D03F-4524-A42A-2F59FEBA7490}"/>
                </a:ext>
              </a:extLst>
            </p:cNvPr>
            <p:cNvSpPr/>
            <p:nvPr/>
          </p:nvSpPr>
          <p:spPr>
            <a:xfrm>
              <a:off x="4720992" y="972660"/>
              <a:ext cx="1398624" cy="188149"/>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1F5B"/>
                  </a:solidFill>
                  <a:effectLst/>
                  <a:uLnTx/>
                  <a:uFillTx/>
                  <a:latin typeface="Corbel"/>
                  <a:ea typeface="+mn-ea"/>
                  <a:cs typeface="Myriad Pro"/>
                </a:rPr>
                <a:t>Short term</a:t>
              </a:r>
            </a:p>
          </p:txBody>
        </p:sp>
      </p:grpSp>
      <p:grpSp>
        <p:nvGrpSpPr>
          <p:cNvPr id="80" name="Group 79">
            <a:extLst>
              <a:ext uri="{FF2B5EF4-FFF2-40B4-BE49-F238E27FC236}">
                <a16:creationId xmlns:a16="http://schemas.microsoft.com/office/drawing/2014/main" id="{68CCDB77-EE59-4594-B8F2-C23FB2451F5F}"/>
              </a:ext>
            </a:extLst>
          </p:cNvPr>
          <p:cNvGrpSpPr/>
          <p:nvPr/>
        </p:nvGrpSpPr>
        <p:grpSpPr>
          <a:xfrm>
            <a:off x="7379344" y="1321225"/>
            <a:ext cx="4248920" cy="171455"/>
            <a:chOff x="8001000" y="978209"/>
            <a:chExt cx="2470389" cy="171455"/>
          </a:xfrm>
        </p:grpSpPr>
        <p:cxnSp>
          <p:nvCxnSpPr>
            <p:cNvPr id="81" name="Straight Connector 80">
              <a:extLst>
                <a:ext uri="{FF2B5EF4-FFF2-40B4-BE49-F238E27FC236}">
                  <a16:creationId xmlns:a16="http://schemas.microsoft.com/office/drawing/2014/main" id="{BB27E03F-F554-4A93-8730-CA572BE8CFAB}"/>
                </a:ext>
              </a:extLst>
            </p:cNvPr>
            <p:cNvCxnSpPr>
              <a:cxnSpLocks/>
            </p:cNvCxnSpPr>
            <p:nvPr/>
          </p:nvCxnSpPr>
          <p:spPr>
            <a:xfrm flipV="1">
              <a:off x="8001000" y="1093688"/>
              <a:ext cx="2470389" cy="5220"/>
            </a:xfrm>
            <a:prstGeom prst="line">
              <a:avLst/>
            </a:prstGeom>
            <a:noFill/>
            <a:ln w="15875" cap="flat" cmpd="sng" algn="ctr">
              <a:solidFill>
                <a:srgbClr val="70AD47"/>
              </a:solidFill>
              <a:prstDash val="solid"/>
              <a:miter lim="800000"/>
              <a:tailEnd type="none"/>
            </a:ln>
            <a:effectLst/>
          </p:spPr>
        </p:cxnSp>
        <p:sp>
          <p:nvSpPr>
            <p:cNvPr id="82" name="Rectangle 81">
              <a:extLst>
                <a:ext uri="{FF2B5EF4-FFF2-40B4-BE49-F238E27FC236}">
                  <a16:creationId xmlns:a16="http://schemas.microsoft.com/office/drawing/2014/main" id="{E901A50F-BB75-4952-856D-0C54483D7869}"/>
                </a:ext>
              </a:extLst>
            </p:cNvPr>
            <p:cNvSpPr/>
            <p:nvPr/>
          </p:nvSpPr>
          <p:spPr>
            <a:xfrm>
              <a:off x="8934107" y="978209"/>
              <a:ext cx="617394" cy="171455"/>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72BF00"/>
                  </a:solidFill>
                  <a:effectLst/>
                  <a:uLnTx/>
                  <a:uFillTx/>
                  <a:latin typeface="Corbel"/>
                  <a:ea typeface="+mn-ea"/>
                  <a:cs typeface="Myriad Pro"/>
                </a:rPr>
                <a:t>Medium term</a:t>
              </a:r>
            </a:p>
          </p:txBody>
        </p:sp>
      </p:grpSp>
      <p:cxnSp>
        <p:nvCxnSpPr>
          <p:cNvPr id="83" name="Straight Connector 82">
            <a:extLst>
              <a:ext uri="{FF2B5EF4-FFF2-40B4-BE49-F238E27FC236}">
                <a16:creationId xmlns:a16="http://schemas.microsoft.com/office/drawing/2014/main" id="{558A9382-A1D2-4129-A11B-E14E9D5BFDF2}"/>
              </a:ext>
            </a:extLst>
          </p:cNvPr>
          <p:cNvCxnSpPr>
            <a:cxnSpLocks/>
          </p:cNvCxnSpPr>
          <p:nvPr/>
        </p:nvCxnSpPr>
        <p:spPr>
          <a:xfrm>
            <a:off x="11304782" y="2123770"/>
            <a:ext cx="323480" cy="0"/>
          </a:xfrm>
          <a:prstGeom prst="line">
            <a:avLst/>
          </a:prstGeom>
          <a:noFill/>
          <a:ln w="15875" cap="flat" cmpd="sng" algn="ctr">
            <a:solidFill>
              <a:sysClr val="window" lastClr="FFFFFF">
                <a:lumMod val="65000"/>
              </a:sysClr>
            </a:solidFill>
            <a:prstDash val="solid"/>
            <a:miter lim="800000"/>
            <a:tailEnd type="triangle"/>
          </a:ln>
          <a:effectLst/>
        </p:spPr>
      </p:cxnSp>
      <p:sp>
        <p:nvSpPr>
          <p:cNvPr id="84" name="Rectangle 83">
            <a:extLst>
              <a:ext uri="{FF2B5EF4-FFF2-40B4-BE49-F238E27FC236}">
                <a16:creationId xmlns:a16="http://schemas.microsoft.com/office/drawing/2014/main" id="{1121D112-CEDA-4678-AFDE-140DC307E461}"/>
              </a:ext>
            </a:extLst>
          </p:cNvPr>
          <p:cNvSpPr/>
          <p:nvPr/>
        </p:nvSpPr>
        <p:spPr>
          <a:xfrm>
            <a:off x="10588717" y="1999597"/>
            <a:ext cx="704079" cy="209224"/>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lumMod val="65000"/>
                  </a:prstClr>
                </a:solidFill>
                <a:effectLst/>
                <a:uLnTx/>
                <a:uFillTx/>
                <a:latin typeface="Corbel"/>
                <a:ea typeface="+mn-ea"/>
                <a:cs typeface="Myriad Pro"/>
              </a:rPr>
              <a:t>Long term</a:t>
            </a:r>
          </a:p>
        </p:txBody>
      </p:sp>
      <p:grpSp>
        <p:nvGrpSpPr>
          <p:cNvPr id="113" name="Group 112">
            <a:extLst>
              <a:ext uri="{FF2B5EF4-FFF2-40B4-BE49-F238E27FC236}">
                <a16:creationId xmlns:a16="http://schemas.microsoft.com/office/drawing/2014/main" id="{DA739C99-19A8-4793-9BFF-574903E089E9}"/>
              </a:ext>
            </a:extLst>
          </p:cNvPr>
          <p:cNvGrpSpPr/>
          <p:nvPr/>
        </p:nvGrpSpPr>
        <p:grpSpPr>
          <a:xfrm>
            <a:off x="10697773" y="4114279"/>
            <a:ext cx="874572" cy="168103"/>
            <a:chOff x="10461746" y="5916428"/>
            <a:chExt cx="1085529" cy="168150"/>
          </a:xfrm>
        </p:grpSpPr>
        <p:cxnSp>
          <p:nvCxnSpPr>
            <p:cNvPr id="114" name="Straight Arrow Connector 113">
              <a:extLst>
                <a:ext uri="{FF2B5EF4-FFF2-40B4-BE49-F238E27FC236}">
                  <a16:creationId xmlns:a16="http://schemas.microsoft.com/office/drawing/2014/main" id="{D52F2E24-9581-44BA-8391-EDE8EB1221BA}"/>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15" name="Rectangle 114">
              <a:extLst>
                <a:ext uri="{FF2B5EF4-FFF2-40B4-BE49-F238E27FC236}">
                  <a16:creationId xmlns:a16="http://schemas.microsoft.com/office/drawing/2014/main" id="{97357D6C-E4B9-4B26-9085-D68B7C02120A}"/>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116" name="Group 115">
            <a:extLst>
              <a:ext uri="{FF2B5EF4-FFF2-40B4-BE49-F238E27FC236}">
                <a16:creationId xmlns:a16="http://schemas.microsoft.com/office/drawing/2014/main" id="{90ABBC5E-A73C-4359-A0F5-F30D0A50900E}"/>
              </a:ext>
            </a:extLst>
          </p:cNvPr>
          <p:cNvGrpSpPr/>
          <p:nvPr/>
        </p:nvGrpSpPr>
        <p:grpSpPr>
          <a:xfrm>
            <a:off x="10697773" y="3838539"/>
            <a:ext cx="874572" cy="168103"/>
            <a:chOff x="10461746" y="5916428"/>
            <a:chExt cx="1085529" cy="168150"/>
          </a:xfrm>
        </p:grpSpPr>
        <p:cxnSp>
          <p:nvCxnSpPr>
            <p:cNvPr id="117" name="Straight Arrow Connector 116">
              <a:extLst>
                <a:ext uri="{FF2B5EF4-FFF2-40B4-BE49-F238E27FC236}">
                  <a16:creationId xmlns:a16="http://schemas.microsoft.com/office/drawing/2014/main" id="{B35D975E-D3CA-4F09-9190-89FFCF08F089}"/>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18" name="Rectangle 117">
              <a:extLst>
                <a:ext uri="{FF2B5EF4-FFF2-40B4-BE49-F238E27FC236}">
                  <a16:creationId xmlns:a16="http://schemas.microsoft.com/office/drawing/2014/main" id="{7262EAED-2D22-43DA-8771-AFE8E1FDE910}"/>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124" name="Group 123">
            <a:extLst>
              <a:ext uri="{FF2B5EF4-FFF2-40B4-BE49-F238E27FC236}">
                <a16:creationId xmlns:a16="http://schemas.microsoft.com/office/drawing/2014/main" id="{2696039B-4EFE-47B8-BDB3-EE90AC83A4A6}"/>
              </a:ext>
            </a:extLst>
          </p:cNvPr>
          <p:cNvGrpSpPr/>
          <p:nvPr/>
        </p:nvGrpSpPr>
        <p:grpSpPr>
          <a:xfrm>
            <a:off x="10697773" y="2885007"/>
            <a:ext cx="874572" cy="168103"/>
            <a:chOff x="10461746" y="5916428"/>
            <a:chExt cx="1085529" cy="168150"/>
          </a:xfrm>
        </p:grpSpPr>
        <p:cxnSp>
          <p:nvCxnSpPr>
            <p:cNvPr id="125" name="Straight Arrow Connector 124">
              <a:extLst>
                <a:ext uri="{FF2B5EF4-FFF2-40B4-BE49-F238E27FC236}">
                  <a16:creationId xmlns:a16="http://schemas.microsoft.com/office/drawing/2014/main" id="{94BCF237-7BB3-498E-AC53-0E7F289E2733}"/>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26" name="Rectangle 125">
              <a:extLst>
                <a:ext uri="{FF2B5EF4-FFF2-40B4-BE49-F238E27FC236}">
                  <a16:creationId xmlns:a16="http://schemas.microsoft.com/office/drawing/2014/main" id="{A90A53AA-6F20-437A-BE1B-9FE9FD633DB4}"/>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134" name="Group 133">
            <a:extLst>
              <a:ext uri="{FF2B5EF4-FFF2-40B4-BE49-F238E27FC236}">
                <a16:creationId xmlns:a16="http://schemas.microsoft.com/office/drawing/2014/main" id="{9FD70FEC-419D-466E-96C6-46113EF16641}"/>
              </a:ext>
            </a:extLst>
          </p:cNvPr>
          <p:cNvGrpSpPr/>
          <p:nvPr/>
        </p:nvGrpSpPr>
        <p:grpSpPr>
          <a:xfrm>
            <a:off x="9193942" y="6389241"/>
            <a:ext cx="2506678" cy="117947"/>
            <a:chOff x="9193942" y="6389241"/>
            <a:chExt cx="2506678" cy="117947"/>
          </a:xfrm>
        </p:grpSpPr>
        <p:sp>
          <p:nvSpPr>
            <p:cNvPr id="135" name="Rectangle 134">
              <a:extLst>
                <a:ext uri="{FF2B5EF4-FFF2-40B4-BE49-F238E27FC236}">
                  <a16:creationId xmlns:a16="http://schemas.microsoft.com/office/drawing/2014/main" id="{85029B77-0F0A-4B7F-9FF1-17493988F667}"/>
                </a:ext>
              </a:extLst>
            </p:cNvPr>
            <p:cNvSpPr/>
            <p:nvPr/>
          </p:nvSpPr>
          <p:spPr>
            <a:xfrm>
              <a:off x="9193942" y="6389241"/>
              <a:ext cx="2506678" cy="116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Calibri" panose="020F0502020204030204"/>
                  <a:ea typeface="+mn-ea"/>
                  <a:cs typeface="+mn-cs"/>
                </a:rPr>
                <a:t>Note:                             indicates an ongoing program</a:t>
              </a:r>
            </a:p>
          </p:txBody>
        </p:sp>
        <p:grpSp>
          <p:nvGrpSpPr>
            <p:cNvPr id="136" name="Group 135">
              <a:extLst>
                <a:ext uri="{FF2B5EF4-FFF2-40B4-BE49-F238E27FC236}">
                  <a16:creationId xmlns:a16="http://schemas.microsoft.com/office/drawing/2014/main" id="{AA611605-6784-45E1-BC86-9FA05C82DD29}"/>
                </a:ext>
              </a:extLst>
            </p:cNvPr>
            <p:cNvGrpSpPr/>
            <p:nvPr/>
          </p:nvGrpSpPr>
          <p:grpSpPr>
            <a:xfrm>
              <a:off x="9772996" y="6399188"/>
              <a:ext cx="554117" cy="108000"/>
              <a:chOff x="10949197" y="5924273"/>
              <a:chExt cx="554117" cy="108000"/>
            </a:xfrm>
          </p:grpSpPr>
          <p:sp>
            <p:nvSpPr>
              <p:cNvPr id="137" name="Rectangle 136">
                <a:extLst>
                  <a:ext uri="{FF2B5EF4-FFF2-40B4-BE49-F238E27FC236}">
                    <a16:creationId xmlns:a16="http://schemas.microsoft.com/office/drawing/2014/main" id="{8ACE85EA-734B-4DC3-A2B7-931D825D1FA9}"/>
                  </a:ext>
                </a:extLst>
              </p:cNvPr>
              <p:cNvSpPr/>
              <p:nvPr/>
            </p:nvSpPr>
            <p:spPr>
              <a:xfrm>
                <a:off x="10949197" y="5924273"/>
                <a:ext cx="554117" cy="108000"/>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cxnSp>
            <p:nvCxnSpPr>
              <p:cNvPr id="138" name="Straight Arrow Connector 137">
                <a:extLst>
                  <a:ext uri="{FF2B5EF4-FFF2-40B4-BE49-F238E27FC236}">
                    <a16:creationId xmlns:a16="http://schemas.microsoft.com/office/drawing/2014/main" id="{12CF1846-C703-4764-8108-18CAB35C7C03}"/>
                  </a:ext>
                </a:extLst>
              </p:cNvPr>
              <p:cNvCxnSpPr>
                <a:cxnSpLocks/>
              </p:cNvCxnSpPr>
              <p:nvPr/>
            </p:nvCxnSpPr>
            <p:spPr>
              <a:xfrm>
                <a:off x="11278689" y="5976212"/>
                <a:ext cx="188395" cy="0"/>
              </a:xfrm>
              <a:prstGeom prst="straightConnector1">
                <a:avLst/>
              </a:prstGeom>
              <a:noFill/>
              <a:ln w="0" cap="flat" cmpd="sng" algn="ctr">
                <a:solidFill>
                  <a:sysClr val="window" lastClr="FFFFFF"/>
                </a:solidFill>
                <a:prstDash val="solid"/>
                <a:miter lim="800000"/>
                <a:tailEnd type="triangle"/>
              </a:ln>
              <a:effectLst/>
            </p:spPr>
          </p:cxnSp>
        </p:grpSp>
      </p:grpSp>
    </p:spTree>
    <p:extLst>
      <p:ext uri="{BB962C8B-B14F-4D97-AF65-F5344CB8AC3E}">
        <p14:creationId xmlns:p14="http://schemas.microsoft.com/office/powerpoint/2010/main" val="861680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0AD0A7-E594-4CDA-A50F-A778B77A0F3C}"/>
              </a:ext>
            </a:extLst>
          </p:cNvPr>
          <p:cNvSpPr/>
          <p:nvPr/>
        </p:nvSpPr>
        <p:spPr>
          <a:xfrm>
            <a:off x="10013778" y="5996813"/>
            <a:ext cx="1711497" cy="670686"/>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1" name="Object 20" hidden="1">
            <a:extLst>
              <a:ext uri="{FF2B5EF4-FFF2-40B4-BE49-F238E27FC236}">
                <a16:creationId xmlns:a16="http://schemas.microsoft.com/office/drawing/2014/main" id="{C86142CB-7568-4B5C-A702-3887AC385E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C86142CB-7568-4B5C-A702-3887AC385E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AAD8281-1183-44F9-86AA-B4E0B8E257A3}"/>
              </a:ext>
            </a:extLst>
          </p:cNvPr>
          <p:cNvSpPr/>
          <p:nvPr/>
        </p:nvSpPr>
        <p:spPr>
          <a:xfrm>
            <a:off x="576263" y="3638550"/>
            <a:ext cx="3396829" cy="276221"/>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Key Activities</a:t>
            </a:r>
          </a:p>
        </p:txBody>
      </p:sp>
      <p:sp>
        <p:nvSpPr>
          <p:cNvPr id="84" name="Rectangle 83">
            <a:extLst>
              <a:ext uri="{FF2B5EF4-FFF2-40B4-BE49-F238E27FC236}">
                <a16:creationId xmlns:a16="http://schemas.microsoft.com/office/drawing/2014/main" id="{4243BC99-995B-403C-AC66-31DB7250558C}"/>
              </a:ext>
            </a:extLst>
          </p:cNvPr>
          <p:cNvSpPr/>
          <p:nvPr/>
        </p:nvSpPr>
        <p:spPr>
          <a:xfrm>
            <a:off x="4114800" y="3638548"/>
            <a:ext cx="1447800" cy="276221"/>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Effort Level</a:t>
            </a: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206A2576-484F-4DD4-871D-D734DE332049}"/>
              </a:ext>
            </a:extLst>
          </p:cNvPr>
          <p:cNvSpPr/>
          <p:nvPr/>
        </p:nvSpPr>
        <p:spPr>
          <a:xfrm>
            <a:off x="5704309" y="3638548"/>
            <a:ext cx="5911430" cy="276221"/>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Planning</a:t>
            </a:r>
          </a:p>
        </p:txBody>
      </p:sp>
      <p:sp>
        <p:nvSpPr>
          <p:cNvPr id="92" name="Rectangle 91">
            <a:extLst>
              <a:ext uri="{FF2B5EF4-FFF2-40B4-BE49-F238E27FC236}">
                <a16:creationId xmlns:a16="http://schemas.microsoft.com/office/drawing/2014/main" id="{D0267CCA-BA4C-4C19-BB09-4D9602CEAAF5}"/>
              </a:ext>
            </a:extLst>
          </p:cNvPr>
          <p:cNvSpPr/>
          <p:nvPr/>
        </p:nvSpPr>
        <p:spPr>
          <a:xfrm>
            <a:off x="6133357"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Jun</a:t>
            </a:r>
          </a:p>
        </p:txBody>
      </p:sp>
      <p:sp>
        <p:nvSpPr>
          <p:cNvPr id="93" name="Rectangle 92">
            <a:extLst>
              <a:ext uri="{FF2B5EF4-FFF2-40B4-BE49-F238E27FC236}">
                <a16:creationId xmlns:a16="http://schemas.microsoft.com/office/drawing/2014/main" id="{2D04F611-545E-4566-8079-4E31AC6693F3}"/>
              </a:ext>
            </a:extLst>
          </p:cNvPr>
          <p:cNvSpPr/>
          <p:nvPr/>
        </p:nvSpPr>
        <p:spPr>
          <a:xfrm>
            <a:off x="6557766"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Jul</a:t>
            </a:r>
          </a:p>
        </p:txBody>
      </p:sp>
      <p:sp>
        <p:nvSpPr>
          <p:cNvPr id="94" name="Rectangle 93">
            <a:extLst>
              <a:ext uri="{FF2B5EF4-FFF2-40B4-BE49-F238E27FC236}">
                <a16:creationId xmlns:a16="http://schemas.microsoft.com/office/drawing/2014/main" id="{680503FB-ADD4-408F-AD52-E83AD4FDBA91}"/>
              </a:ext>
            </a:extLst>
          </p:cNvPr>
          <p:cNvSpPr/>
          <p:nvPr/>
        </p:nvSpPr>
        <p:spPr>
          <a:xfrm>
            <a:off x="7406584"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Sep</a:t>
            </a:r>
          </a:p>
        </p:txBody>
      </p:sp>
      <p:sp>
        <p:nvSpPr>
          <p:cNvPr id="95" name="Rectangle 94">
            <a:extLst>
              <a:ext uri="{FF2B5EF4-FFF2-40B4-BE49-F238E27FC236}">
                <a16:creationId xmlns:a16="http://schemas.microsoft.com/office/drawing/2014/main" id="{8AE1C7CA-4B7F-43DE-99E1-B2C58EEFC0D8}"/>
              </a:ext>
            </a:extLst>
          </p:cNvPr>
          <p:cNvSpPr/>
          <p:nvPr/>
        </p:nvSpPr>
        <p:spPr>
          <a:xfrm>
            <a:off x="8255402"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Nov</a:t>
            </a:r>
          </a:p>
        </p:txBody>
      </p:sp>
      <p:sp>
        <p:nvSpPr>
          <p:cNvPr id="96" name="Rectangle 95">
            <a:extLst>
              <a:ext uri="{FF2B5EF4-FFF2-40B4-BE49-F238E27FC236}">
                <a16:creationId xmlns:a16="http://schemas.microsoft.com/office/drawing/2014/main" id="{CAFB6244-7079-4D2E-84B8-7D779E91FD7C}"/>
              </a:ext>
            </a:extLst>
          </p:cNvPr>
          <p:cNvSpPr/>
          <p:nvPr/>
        </p:nvSpPr>
        <p:spPr>
          <a:xfrm>
            <a:off x="8679811"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Dec</a:t>
            </a:r>
          </a:p>
        </p:txBody>
      </p:sp>
      <p:sp>
        <p:nvSpPr>
          <p:cNvPr id="97" name="Rectangle 96">
            <a:extLst>
              <a:ext uri="{FF2B5EF4-FFF2-40B4-BE49-F238E27FC236}">
                <a16:creationId xmlns:a16="http://schemas.microsoft.com/office/drawing/2014/main" id="{DE3DC286-3D0B-4A31-BC7B-19E934EEC161}"/>
              </a:ext>
            </a:extLst>
          </p:cNvPr>
          <p:cNvSpPr/>
          <p:nvPr/>
        </p:nvSpPr>
        <p:spPr>
          <a:xfrm>
            <a:off x="9104220"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Jan</a:t>
            </a:r>
          </a:p>
        </p:txBody>
      </p:sp>
      <p:sp>
        <p:nvSpPr>
          <p:cNvPr id="9" name="Rectangle 8">
            <a:extLst>
              <a:ext uri="{FF2B5EF4-FFF2-40B4-BE49-F238E27FC236}">
                <a16:creationId xmlns:a16="http://schemas.microsoft.com/office/drawing/2014/main" id="{86A3EABB-3BD3-453E-A1C9-56C80109EA57}"/>
              </a:ext>
            </a:extLst>
          </p:cNvPr>
          <p:cNvSpPr/>
          <p:nvPr/>
        </p:nvSpPr>
        <p:spPr>
          <a:xfrm>
            <a:off x="576263" y="4102942"/>
            <a:ext cx="3396829" cy="421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1 Initiate Guiding Coalition</a:t>
            </a:r>
          </a:p>
        </p:txBody>
      </p:sp>
      <p:sp>
        <p:nvSpPr>
          <p:cNvPr id="100" name="Rectangle 99">
            <a:extLst>
              <a:ext uri="{FF2B5EF4-FFF2-40B4-BE49-F238E27FC236}">
                <a16:creationId xmlns:a16="http://schemas.microsoft.com/office/drawing/2014/main" id="{FE931837-4510-4E61-B3B0-C98A2EFD2955}"/>
              </a:ext>
            </a:extLst>
          </p:cNvPr>
          <p:cNvSpPr/>
          <p:nvPr/>
        </p:nvSpPr>
        <p:spPr>
          <a:xfrm>
            <a:off x="576262" y="4524375"/>
            <a:ext cx="3396829" cy="421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2 </a:t>
            </a: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Assign DG roles</a:t>
            </a:r>
          </a:p>
        </p:txBody>
      </p:sp>
      <p:sp>
        <p:nvSpPr>
          <p:cNvPr id="101" name="Rectangle 100">
            <a:extLst>
              <a:ext uri="{FF2B5EF4-FFF2-40B4-BE49-F238E27FC236}">
                <a16:creationId xmlns:a16="http://schemas.microsoft.com/office/drawing/2014/main" id="{8EACBFC6-08B8-4BFA-BC25-73A62E684B7E}"/>
              </a:ext>
            </a:extLst>
          </p:cNvPr>
          <p:cNvSpPr/>
          <p:nvPr/>
        </p:nvSpPr>
        <p:spPr>
          <a:xfrm>
            <a:off x="576262" y="4957666"/>
            <a:ext cx="3396829" cy="421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3 DG councils/forums determined</a:t>
            </a:r>
          </a:p>
        </p:txBody>
      </p:sp>
      <p:sp>
        <p:nvSpPr>
          <p:cNvPr id="104" name="Rectangle 103">
            <a:extLst>
              <a:ext uri="{FF2B5EF4-FFF2-40B4-BE49-F238E27FC236}">
                <a16:creationId xmlns:a16="http://schemas.microsoft.com/office/drawing/2014/main" id="{D0D8A0D9-0690-4DB9-9F77-ED170B8E7306}"/>
              </a:ext>
            </a:extLst>
          </p:cNvPr>
          <p:cNvSpPr/>
          <p:nvPr/>
        </p:nvSpPr>
        <p:spPr>
          <a:xfrm>
            <a:off x="576263" y="5390957"/>
            <a:ext cx="3396829" cy="421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4 DG training</a:t>
            </a:r>
          </a:p>
        </p:txBody>
      </p:sp>
      <p:cxnSp>
        <p:nvCxnSpPr>
          <p:cNvPr id="11" name="Straight Connector 10">
            <a:extLst>
              <a:ext uri="{FF2B5EF4-FFF2-40B4-BE49-F238E27FC236}">
                <a16:creationId xmlns:a16="http://schemas.microsoft.com/office/drawing/2014/main" id="{5840120C-0792-440C-A4EF-268842063AF5}"/>
              </a:ext>
            </a:extLst>
          </p:cNvPr>
          <p:cNvCxnSpPr>
            <a:cxnSpLocks/>
          </p:cNvCxnSpPr>
          <p:nvPr/>
        </p:nvCxnSpPr>
        <p:spPr>
          <a:xfrm flipV="1">
            <a:off x="576262" y="4507658"/>
            <a:ext cx="11039476" cy="1671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47F5B82-0A43-496A-A195-7C2F630B36F3}"/>
              </a:ext>
            </a:extLst>
          </p:cNvPr>
          <p:cNvCxnSpPr>
            <a:cxnSpLocks/>
          </p:cNvCxnSpPr>
          <p:nvPr/>
        </p:nvCxnSpPr>
        <p:spPr>
          <a:xfrm flipV="1">
            <a:off x="576262" y="4941293"/>
            <a:ext cx="11039476" cy="1671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C2DD310-6A95-49A6-8E85-9E959846A42C}"/>
              </a:ext>
            </a:extLst>
          </p:cNvPr>
          <p:cNvCxnSpPr>
            <a:cxnSpLocks/>
          </p:cNvCxnSpPr>
          <p:nvPr/>
        </p:nvCxnSpPr>
        <p:spPr>
          <a:xfrm flipV="1">
            <a:off x="576262" y="5365403"/>
            <a:ext cx="11039476" cy="1671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8D9E57D-B503-46ED-B38A-E11F7C71E039}"/>
              </a:ext>
            </a:extLst>
          </p:cNvPr>
          <p:cNvGrpSpPr/>
          <p:nvPr/>
        </p:nvGrpSpPr>
        <p:grpSpPr>
          <a:xfrm>
            <a:off x="4187415" y="4154815"/>
            <a:ext cx="649160" cy="282380"/>
            <a:chOff x="4188810" y="4154815"/>
            <a:chExt cx="649160" cy="282380"/>
          </a:xfrm>
        </p:grpSpPr>
        <p:sp>
          <p:nvSpPr>
            <p:cNvPr id="98" name="Freeform 39">
              <a:extLst>
                <a:ext uri="{FF2B5EF4-FFF2-40B4-BE49-F238E27FC236}">
                  <a16:creationId xmlns:a16="http://schemas.microsoft.com/office/drawing/2014/main" id="{18CC944D-ABC8-4611-AECA-77103F21DB88}"/>
                </a:ext>
              </a:extLst>
            </p:cNvPr>
            <p:cNvSpPr>
              <a:spLocks/>
            </p:cNvSpPr>
            <p:nvPr/>
          </p:nvSpPr>
          <p:spPr bwMode="auto">
            <a:xfrm>
              <a:off x="4188810" y="415481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EYInterstate Light"/>
                  <a:ea typeface="+mn-ea"/>
                  <a:cs typeface="+mn-cs"/>
                </a:rPr>
                <a:t>S</a:t>
              </a:r>
            </a:p>
          </p:txBody>
        </p:sp>
        <p:sp>
          <p:nvSpPr>
            <p:cNvPr id="113" name="Freeform 39">
              <a:extLst>
                <a:ext uri="{FF2B5EF4-FFF2-40B4-BE49-F238E27FC236}">
                  <a16:creationId xmlns:a16="http://schemas.microsoft.com/office/drawing/2014/main" id="{0C5B042C-397E-4EC6-A3F4-1DFCED6E5972}"/>
                </a:ext>
              </a:extLst>
            </p:cNvPr>
            <p:cNvSpPr>
              <a:spLocks/>
            </p:cNvSpPr>
            <p:nvPr/>
          </p:nvSpPr>
          <p:spPr bwMode="auto">
            <a:xfrm>
              <a:off x="451412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a:ea typeface="+mn-ea"/>
                  <a:cs typeface="+mn-cs"/>
                </a:rPr>
                <a:t>S</a:t>
              </a:r>
            </a:p>
          </p:txBody>
        </p:sp>
      </p:grpSp>
      <p:sp>
        <p:nvSpPr>
          <p:cNvPr id="116" name="Rectangle 115">
            <a:extLst>
              <a:ext uri="{FF2B5EF4-FFF2-40B4-BE49-F238E27FC236}">
                <a16:creationId xmlns:a16="http://schemas.microsoft.com/office/drawing/2014/main" id="{C2DA73D0-CFC6-44D8-B0C5-2BE4421E1332}"/>
              </a:ext>
            </a:extLst>
          </p:cNvPr>
          <p:cNvSpPr/>
          <p:nvPr/>
        </p:nvSpPr>
        <p:spPr>
          <a:xfrm>
            <a:off x="6032557" y="4224092"/>
            <a:ext cx="2988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A8CE56F2-4D51-441F-ACD1-F4A385F4212A}"/>
              </a:ext>
            </a:extLst>
          </p:cNvPr>
          <p:cNvSpPr/>
          <p:nvPr/>
        </p:nvSpPr>
        <p:spPr>
          <a:xfrm>
            <a:off x="7903384" y="5060382"/>
            <a:ext cx="1172427"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F10FB977-A1C4-4DB8-B9B9-A14728061DB6}"/>
              </a:ext>
            </a:extLst>
          </p:cNvPr>
          <p:cNvSpPr/>
          <p:nvPr/>
        </p:nvSpPr>
        <p:spPr>
          <a:xfrm>
            <a:off x="7910872" y="5483748"/>
            <a:ext cx="3711391"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F92B4460-F925-4185-99DE-02FAE2F85FC6}"/>
              </a:ext>
            </a:extLst>
          </p:cNvPr>
          <p:cNvGrpSpPr/>
          <p:nvPr/>
        </p:nvGrpSpPr>
        <p:grpSpPr>
          <a:xfrm>
            <a:off x="4838199" y="1634806"/>
            <a:ext cx="3319629" cy="866256"/>
            <a:chOff x="3417554" y="1647297"/>
            <a:chExt cx="3319629" cy="866256"/>
          </a:xfrm>
        </p:grpSpPr>
        <p:sp>
          <p:nvSpPr>
            <p:cNvPr id="139" name="Rectangle 138">
              <a:extLst>
                <a:ext uri="{FF2B5EF4-FFF2-40B4-BE49-F238E27FC236}">
                  <a16:creationId xmlns:a16="http://schemas.microsoft.com/office/drawing/2014/main" id="{EE77A5AD-7A74-49C7-8596-886C72B63666}"/>
                </a:ext>
              </a:extLst>
            </p:cNvPr>
            <p:cNvSpPr/>
            <p:nvPr/>
          </p:nvSpPr>
          <p:spPr>
            <a:xfrm>
              <a:off x="3417554" y="1770901"/>
              <a:ext cx="3319629" cy="7426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1000" b="0" i="0" u="none" strike="noStrike" kern="0" cap="none" spc="0" normalizeH="0" baseline="0" noProof="0">
                <a:ln>
                  <a:noFill/>
                </a:ln>
                <a:solidFill>
                  <a:srgbClr val="000000"/>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srgbClr val="000000"/>
                  </a:solidFill>
                  <a:effectLst/>
                  <a:uLnTx/>
                  <a:uFillTx/>
                  <a:latin typeface="Calibri" panose="020F0502020204030204"/>
                  <a:ea typeface="+mn-ea"/>
                  <a:cs typeface="+mn-cs"/>
                </a:rPr>
                <a:t>Unified DG approach across Business Uni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srgbClr val="000000"/>
                  </a:solidFill>
                  <a:effectLst/>
                  <a:uLnTx/>
                  <a:uFillTx/>
                  <a:latin typeface="Calibri" panose="020F0502020204030204"/>
                  <a:ea typeface="+mn-ea"/>
                  <a:cs typeface="+mn-cs"/>
                </a:rPr>
                <a:t>Ownership in place to accommodate improved DM</a:t>
              </a:r>
            </a:p>
          </p:txBody>
        </p:sp>
        <p:sp>
          <p:nvSpPr>
            <p:cNvPr id="141" name="TextBox 140">
              <a:extLst>
                <a:ext uri="{FF2B5EF4-FFF2-40B4-BE49-F238E27FC236}">
                  <a16:creationId xmlns:a16="http://schemas.microsoft.com/office/drawing/2014/main" id="{A22A3778-7B46-4E0F-BA28-D62F05BB7218}"/>
                </a:ext>
              </a:extLst>
            </p:cNvPr>
            <p:cNvSpPr txBox="1"/>
            <p:nvPr/>
          </p:nvSpPr>
          <p:spPr>
            <a:xfrm>
              <a:off x="4065885" y="1647297"/>
              <a:ext cx="2022967" cy="184666"/>
            </a:xfrm>
            <a:prstGeom prst="rect">
              <a:avLst/>
            </a:prstGeom>
            <a:solidFill>
              <a:schemeClr val="bg1"/>
            </a:solidFill>
            <a:ln w="12700">
              <a:noFill/>
            </a:ln>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9B4"/>
                  </a:solidFill>
                  <a:effectLst/>
                  <a:uLnTx/>
                  <a:uFillTx/>
                  <a:latin typeface="Calibri" panose="020F0502020204030204"/>
                  <a:ea typeface="+mn-ea"/>
                  <a:cs typeface="+mn-cs"/>
                </a:rPr>
                <a:t>Potential benefits of doing this  </a:t>
              </a:r>
            </a:p>
          </p:txBody>
        </p:sp>
      </p:grpSp>
      <p:sp>
        <p:nvSpPr>
          <p:cNvPr id="147" name="Rectangle 146">
            <a:extLst>
              <a:ext uri="{FF2B5EF4-FFF2-40B4-BE49-F238E27FC236}">
                <a16:creationId xmlns:a16="http://schemas.microsoft.com/office/drawing/2014/main" id="{BF19067E-7657-4E8F-BB46-350F608395A0}"/>
              </a:ext>
            </a:extLst>
          </p:cNvPr>
          <p:cNvSpPr/>
          <p:nvPr/>
        </p:nvSpPr>
        <p:spPr>
          <a:xfrm>
            <a:off x="4838199" y="2678276"/>
            <a:ext cx="3319629" cy="7426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1000" b="0" i="0" u="none" strike="noStrike" kern="0" cap="none" spc="0" normalizeH="0" baseline="0" noProof="0">
              <a:ln>
                <a:noFill/>
              </a:ln>
              <a:solidFill>
                <a:srgbClr val="000000"/>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srgbClr val="000000"/>
                </a:solidFill>
                <a:effectLst/>
                <a:uLnTx/>
                <a:uFillTx/>
                <a:latin typeface="Calibri" panose="020F0502020204030204"/>
                <a:ea typeface="+mn-ea"/>
                <a:cs typeface="+mn-cs"/>
              </a:rPr>
              <a:t>Unavailable or insufficient dat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srgbClr val="000000"/>
                </a:solidFill>
                <a:effectLst/>
                <a:uLnTx/>
                <a:uFillTx/>
                <a:latin typeface="Calibri" panose="020F0502020204030204"/>
                <a:ea typeface="+mn-ea"/>
                <a:cs typeface="+mn-cs"/>
              </a:rPr>
              <a:t>Insufficient Data Capabilities to meet market and regulatory standards</a:t>
            </a:r>
          </a:p>
        </p:txBody>
      </p:sp>
      <p:sp>
        <p:nvSpPr>
          <p:cNvPr id="148" name="TextBox 147">
            <a:extLst>
              <a:ext uri="{FF2B5EF4-FFF2-40B4-BE49-F238E27FC236}">
                <a16:creationId xmlns:a16="http://schemas.microsoft.com/office/drawing/2014/main" id="{5DBA4BA7-C94E-4402-8B98-A3E6C3978B0A}"/>
              </a:ext>
            </a:extLst>
          </p:cNvPr>
          <p:cNvSpPr txBox="1"/>
          <p:nvPr/>
        </p:nvSpPr>
        <p:spPr>
          <a:xfrm>
            <a:off x="5486530" y="2580290"/>
            <a:ext cx="2022967" cy="184666"/>
          </a:xfrm>
          <a:prstGeom prst="rect">
            <a:avLst/>
          </a:prstGeom>
          <a:solidFill>
            <a:schemeClr val="bg1"/>
          </a:solidFill>
          <a:ln w="12700">
            <a:noFill/>
          </a:ln>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9B4"/>
                </a:solidFill>
                <a:effectLst/>
                <a:uLnTx/>
                <a:uFillTx/>
                <a:latin typeface="Calibri" panose="020F0502020204030204"/>
                <a:ea typeface="+mn-ea"/>
                <a:cs typeface="+mn-cs"/>
              </a:rPr>
              <a:t>Potential risks of not doing this  </a:t>
            </a:r>
          </a:p>
        </p:txBody>
      </p:sp>
      <p:grpSp>
        <p:nvGrpSpPr>
          <p:cNvPr id="25" name="Group 24">
            <a:extLst>
              <a:ext uri="{FF2B5EF4-FFF2-40B4-BE49-F238E27FC236}">
                <a16:creationId xmlns:a16="http://schemas.microsoft.com/office/drawing/2014/main" id="{E1F03735-96C1-40C5-A9EF-116F2CCFC22E}"/>
              </a:ext>
            </a:extLst>
          </p:cNvPr>
          <p:cNvGrpSpPr/>
          <p:nvPr/>
        </p:nvGrpSpPr>
        <p:grpSpPr>
          <a:xfrm>
            <a:off x="2707231" y="1645661"/>
            <a:ext cx="2022968" cy="1775267"/>
            <a:chOff x="2422234" y="1649676"/>
            <a:chExt cx="2022968" cy="1775267"/>
          </a:xfrm>
        </p:grpSpPr>
        <p:sp>
          <p:nvSpPr>
            <p:cNvPr id="142" name="Rectangle 141">
              <a:extLst>
                <a:ext uri="{FF2B5EF4-FFF2-40B4-BE49-F238E27FC236}">
                  <a16:creationId xmlns:a16="http://schemas.microsoft.com/office/drawing/2014/main" id="{517377B4-A370-4A3B-8B38-C667DFEE1E39}"/>
                </a:ext>
              </a:extLst>
            </p:cNvPr>
            <p:cNvSpPr/>
            <p:nvPr/>
          </p:nvSpPr>
          <p:spPr>
            <a:xfrm>
              <a:off x="2422234" y="1773277"/>
              <a:ext cx="2022968" cy="165166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69B4"/>
                </a:solidFill>
                <a:effectLst/>
                <a:uLnTx/>
                <a:uFillTx/>
                <a:latin typeface="Calibri" panose="020F0502020204030204"/>
                <a:ea typeface="+mn-ea"/>
                <a:cs typeface="+mn-cs"/>
              </a:endParaRPr>
            </a:p>
          </p:txBody>
        </p:sp>
        <p:sp>
          <p:nvSpPr>
            <p:cNvPr id="143" name="TextBox 142">
              <a:extLst>
                <a:ext uri="{FF2B5EF4-FFF2-40B4-BE49-F238E27FC236}">
                  <a16:creationId xmlns:a16="http://schemas.microsoft.com/office/drawing/2014/main" id="{4BCC00CD-919F-4F89-9922-325CA5833A72}"/>
                </a:ext>
              </a:extLst>
            </p:cNvPr>
            <p:cNvSpPr txBox="1"/>
            <p:nvPr/>
          </p:nvSpPr>
          <p:spPr>
            <a:xfrm>
              <a:off x="2587718" y="1649676"/>
              <a:ext cx="1692000" cy="184666"/>
            </a:xfrm>
            <a:prstGeom prst="rect">
              <a:avLst/>
            </a:prstGeom>
            <a:solidFill>
              <a:schemeClr val="bg1"/>
            </a:solidFill>
            <a:ln w="12700">
              <a:noFill/>
            </a:ln>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9B4"/>
                  </a:solidFill>
                  <a:effectLst/>
                  <a:uLnTx/>
                  <a:uFillTx/>
                  <a:latin typeface="Calibri" panose="020F0502020204030204"/>
                  <a:ea typeface="+mn-ea"/>
                  <a:cs typeface="+mn-cs"/>
                </a:rPr>
                <a:t>Activity Owners</a:t>
              </a:r>
            </a:p>
          </p:txBody>
        </p:sp>
      </p:grpSp>
      <p:sp>
        <p:nvSpPr>
          <p:cNvPr id="153" name="Freeform 39">
            <a:extLst>
              <a:ext uri="{FF2B5EF4-FFF2-40B4-BE49-F238E27FC236}">
                <a16:creationId xmlns:a16="http://schemas.microsoft.com/office/drawing/2014/main" id="{7A63C336-AF01-479A-86AA-664407F8380D}"/>
              </a:ext>
            </a:extLst>
          </p:cNvPr>
          <p:cNvSpPr>
            <a:spLocks/>
          </p:cNvSpPr>
          <p:nvPr/>
        </p:nvSpPr>
        <p:spPr bwMode="auto">
          <a:xfrm>
            <a:off x="2756816" y="199162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57" name="Freeform 39">
            <a:extLst>
              <a:ext uri="{FF2B5EF4-FFF2-40B4-BE49-F238E27FC236}">
                <a16:creationId xmlns:a16="http://schemas.microsoft.com/office/drawing/2014/main" id="{23F31958-6C23-4D18-9FFD-F6484E2077A8}"/>
              </a:ext>
            </a:extLst>
          </p:cNvPr>
          <p:cNvSpPr>
            <a:spLocks/>
          </p:cNvSpPr>
          <p:nvPr/>
        </p:nvSpPr>
        <p:spPr bwMode="auto">
          <a:xfrm>
            <a:off x="2756816" y="2338243"/>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58" name="Freeform 39">
            <a:extLst>
              <a:ext uri="{FF2B5EF4-FFF2-40B4-BE49-F238E27FC236}">
                <a16:creationId xmlns:a16="http://schemas.microsoft.com/office/drawing/2014/main" id="{384D3256-7663-46E2-8952-04E5717DE63F}"/>
              </a:ext>
            </a:extLst>
          </p:cNvPr>
          <p:cNvSpPr>
            <a:spLocks/>
          </p:cNvSpPr>
          <p:nvPr/>
        </p:nvSpPr>
        <p:spPr bwMode="auto">
          <a:xfrm>
            <a:off x="2756816" y="2684861"/>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chemeClr val="tx2"/>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59" name="Freeform 39">
            <a:extLst>
              <a:ext uri="{FF2B5EF4-FFF2-40B4-BE49-F238E27FC236}">
                <a16:creationId xmlns:a16="http://schemas.microsoft.com/office/drawing/2014/main" id="{6E2A8BFA-A673-486A-94CC-1CEE5F1B16F4}"/>
              </a:ext>
            </a:extLst>
          </p:cNvPr>
          <p:cNvSpPr>
            <a:spLocks/>
          </p:cNvSpPr>
          <p:nvPr/>
        </p:nvSpPr>
        <p:spPr bwMode="auto">
          <a:xfrm>
            <a:off x="2756816" y="3031480"/>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72BF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33" name="Rectangle 32">
            <a:extLst>
              <a:ext uri="{FF2B5EF4-FFF2-40B4-BE49-F238E27FC236}">
                <a16:creationId xmlns:a16="http://schemas.microsoft.com/office/drawing/2014/main" id="{6F52845C-33FB-4EF0-8419-6BC9E61C50B7}"/>
              </a:ext>
            </a:extLst>
          </p:cNvPr>
          <p:cNvSpPr/>
          <p:nvPr/>
        </p:nvSpPr>
        <p:spPr>
          <a:xfrm>
            <a:off x="3130309" y="2043284"/>
            <a:ext cx="1434406" cy="172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EY DM Specialist</a:t>
            </a:r>
          </a:p>
        </p:txBody>
      </p:sp>
      <p:sp>
        <p:nvSpPr>
          <p:cNvPr id="160" name="Rectangle 159">
            <a:extLst>
              <a:ext uri="{FF2B5EF4-FFF2-40B4-BE49-F238E27FC236}">
                <a16:creationId xmlns:a16="http://schemas.microsoft.com/office/drawing/2014/main" id="{F12A0A1C-60F9-4E6F-89FF-9E6CEC6130CB}"/>
              </a:ext>
            </a:extLst>
          </p:cNvPr>
          <p:cNvSpPr/>
          <p:nvPr/>
        </p:nvSpPr>
        <p:spPr>
          <a:xfrm>
            <a:off x="3130309" y="2389902"/>
            <a:ext cx="1434406" cy="172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Aegon Data Officer</a:t>
            </a:r>
          </a:p>
        </p:txBody>
      </p:sp>
      <p:sp>
        <p:nvSpPr>
          <p:cNvPr id="161" name="Rectangle 160">
            <a:extLst>
              <a:ext uri="{FF2B5EF4-FFF2-40B4-BE49-F238E27FC236}">
                <a16:creationId xmlns:a16="http://schemas.microsoft.com/office/drawing/2014/main" id="{252F0562-FB85-4C14-8E5E-9FDF96B18AB0}"/>
              </a:ext>
            </a:extLst>
          </p:cNvPr>
          <p:cNvSpPr/>
          <p:nvPr/>
        </p:nvSpPr>
        <p:spPr>
          <a:xfrm>
            <a:off x="3130309" y="2736520"/>
            <a:ext cx="1707726" cy="172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Aegon Data Owner/Steward</a:t>
            </a:r>
          </a:p>
        </p:txBody>
      </p:sp>
      <p:sp>
        <p:nvSpPr>
          <p:cNvPr id="162" name="Rectangle 161">
            <a:extLst>
              <a:ext uri="{FF2B5EF4-FFF2-40B4-BE49-F238E27FC236}">
                <a16:creationId xmlns:a16="http://schemas.microsoft.com/office/drawing/2014/main" id="{1C4BCF2A-30B0-4C45-8D39-97F4283E1002}"/>
              </a:ext>
            </a:extLst>
          </p:cNvPr>
          <p:cNvSpPr/>
          <p:nvPr/>
        </p:nvSpPr>
        <p:spPr>
          <a:xfrm>
            <a:off x="3130309" y="3083139"/>
            <a:ext cx="1434406" cy="172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Collibra Specialist</a:t>
            </a:r>
          </a:p>
        </p:txBody>
      </p:sp>
      <p:grpSp>
        <p:nvGrpSpPr>
          <p:cNvPr id="201" name="Group 200">
            <a:extLst>
              <a:ext uri="{FF2B5EF4-FFF2-40B4-BE49-F238E27FC236}">
                <a16:creationId xmlns:a16="http://schemas.microsoft.com/office/drawing/2014/main" id="{14E25B6C-F815-4FA0-8B73-B5B4A493BDAC}"/>
              </a:ext>
            </a:extLst>
          </p:cNvPr>
          <p:cNvGrpSpPr/>
          <p:nvPr/>
        </p:nvGrpSpPr>
        <p:grpSpPr>
          <a:xfrm>
            <a:off x="4187415" y="4583911"/>
            <a:ext cx="974470" cy="282380"/>
            <a:chOff x="4188810" y="4154815"/>
            <a:chExt cx="974470" cy="282380"/>
          </a:xfrm>
        </p:grpSpPr>
        <p:sp>
          <p:nvSpPr>
            <p:cNvPr id="202" name="Freeform 39">
              <a:extLst>
                <a:ext uri="{FF2B5EF4-FFF2-40B4-BE49-F238E27FC236}">
                  <a16:creationId xmlns:a16="http://schemas.microsoft.com/office/drawing/2014/main" id="{727570B4-F85F-48BC-ADE3-AD1CFF994F4F}"/>
                </a:ext>
              </a:extLst>
            </p:cNvPr>
            <p:cNvSpPr>
              <a:spLocks/>
            </p:cNvSpPr>
            <p:nvPr/>
          </p:nvSpPr>
          <p:spPr bwMode="auto">
            <a:xfrm>
              <a:off x="4188810" y="415481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EYInterstate Light"/>
                  <a:ea typeface="+mn-ea"/>
                  <a:cs typeface="+mn-cs"/>
                </a:rPr>
                <a:t>S</a:t>
              </a:r>
            </a:p>
          </p:txBody>
        </p:sp>
        <p:sp>
          <p:nvSpPr>
            <p:cNvPr id="203" name="Freeform 39">
              <a:extLst>
                <a:ext uri="{FF2B5EF4-FFF2-40B4-BE49-F238E27FC236}">
                  <a16:creationId xmlns:a16="http://schemas.microsoft.com/office/drawing/2014/main" id="{186A8E1A-EB4B-44B2-BEA8-360B109827C7}"/>
                </a:ext>
              </a:extLst>
            </p:cNvPr>
            <p:cNvSpPr>
              <a:spLocks/>
            </p:cNvSpPr>
            <p:nvPr/>
          </p:nvSpPr>
          <p:spPr bwMode="auto">
            <a:xfrm>
              <a:off x="451412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a:ea typeface="+mn-ea"/>
                  <a:cs typeface="+mn-cs"/>
                </a:rPr>
                <a:t>M</a:t>
              </a:r>
            </a:p>
          </p:txBody>
        </p:sp>
        <p:sp>
          <p:nvSpPr>
            <p:cNvPr id="204" name="Freeform 39">
              <a:extLst>
                <a:ext uri="{FF2B5EF4-FFF2-40B4-BE49-F238E27FC236}">
                  <a16:creationId xmlns:a16="http://schemas.microsoft.com/office/drawing/2014/main" id="{CC6A9C1A-5DBF-4E05-A304-CFC694F88BF9}"/>
                </a:ext>
              </a:extLst>
            </p:cNvPr>
            <p:cNvSpPr>
              <a:spLocks/>
            </p:cNvSpPr>
            <p:nvPr/>
          </p:nvSpPr>
          <p:spPr bwMode="auto">
            <a:xfrm>
              <a:off x="483943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chemeClr val="tx2"/>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a:ea typeface="+mn-ea"/>
                  <a:cs typeface="+mn-cs"/>
                </a:rPr>
                <a:t>M</a:t>
              </a:r>
            </a:p>
          </p:txBody>
        </p:sp>
      </p:grpSp>
      <p:grpSp>
        <p:nvGrpSpPr>
          <p:cNvPr id="206" name="Group 205">
            <a:extLst>
              <a:ext uri="{FF2B5EF4-FFF2-40B4-BE49-F238E27FC236}">
                <a16:creationId xmlns:a16="http://schemas.microsoft.com/office/drawing/2014/main" id="{86494D6D-F273-402B-80F7-C3FA921D92CF}"/>
              </a:ext>
            </a:extLst>
          </p:cNvPr>
          <p:cNvGrpSpPr/>
          <p:nvPr/>
        </p:nvGrpSpPr>
        <p:grpSpPr>
          <a:xfrm>
            <a:off x="4187415" y="5033014"/>
            <a:ext cx="974470" cy="282380"/>
            <a:chOff x="4188810" y="4154815"/>
            <a:chExt cx="974470" cy="282380"/>
          </a:xfrm>
        </p:grpSpPr>
        <p:sp>
          <p:nvSpPr>
            <p:cNvPr id="207" name="Freeform 39">
              <a:extLst>
                <a:ext uri="{FF2B5EF4-FFF2-40B4-BE49-F238E27FC236}">
                  <a16:creationId xmlns:a16="http://schemas.microsoft.com/office/drawing/2014/main" id="{6A7E5820-AE46-4176-8434-89DE05AA981C}"/>
                </a:ext>
              </a:extLst>
            </p:cNvPr>
            <p:cNvSpPr>
              <a:spLocks/>
            </p:cNvSpPr>
            <p:nvPr/>
          </p:nvSpPr>
          <p:spPr bwMode="auto">
            <a:xfrm>
              <a:off x="4188810" y="415481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EYInterstate Light"/>
                  <a:ea typeface="+mn-ea"/>
                  <a:cs typeface="+mn-cs"/>
                </a:rPr>
                <a:t>S</a:t>
              </a:r>
            </a:p>
          </p:txBody>
        </p:sp>
        <p:sp>
          <p:nvSpPr>
            <p:cNvPr id="208" name="Freeform 39">
              <a:extLst>
                <a:ext uri="{FF2B5EF4-FFF2-40B4-BE49-F238E27FC236}">
                  <a16:creationId xmlns:a16="http://schemas.microsoft.com/office/drawing/2014/main" id="{298D75D9-75F8-4F32-BB2C-FDB9465A0827}"/>
                </a:ext>
              </a:extLst>
            </p:cNvPr>
            <p:cNvSpPr>
              <a:spLocks/>
            </p:cNvSpPr>
            <p:nvPr/>
          </p:nvSpPr>
          <p:spPr bwMode="auto">
            <a:xfrm>
              <a:off x="451412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a:ea typeface="+mn-ea"/>
                  <a:cs typeface="+mn-cs"/>
                </a:rPr>
                <a:t>S</a:t>
              </a:r>
            </a:p>
          </p:txBody>
        </p:sp>
        <p:sp>
          <p:nvSpPr>
            <p:cNvPr id="209" name="Freeform 39">
              <a:extLst>
                <a:ext uri="{FF2B5EF4-FFF2-40B4-BE49-F238E27FC236}">
                  <a16:creationId xmlns:a16="http://schemas.microsoft.com/office/drawing/2014/main" id="{FB741147-8C8C-4F19-8F2F-AF9FB86C77B7}"/>
                </a:ext>
              </a:extLst>
            </p:cNvPr>
            <p:cNvSpPr>
              <a:spLocks/>
            </p:cNvSpPr>
            <p:nvPr/>
          </p:nvSpPr>
          <p:spPr bwMode="auto">
            <a:xfrm>
              <a:off x="483943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chemeClr val="tx2"/>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a:ea typeface="+mn-ea"/>
                  <a:cs typeface="+mn-cs"/>
                </a:rPr>
                <a:t>S</a:t>
              </a:r>
            </a:p>
          </p:txBody>
        </p:sp>
      </p:grpSp>
      <p:sp>
        <p:nvSpPr>
          <p:cNvPr id="107" name="Rectangle 106">
            <a:extLst>
              <a:ext uri="{FF2B5EF4-FFF2-40B4-BE49-F238E27FC236}">
                <a16:creationId xmlns:a16="http://schemas.microsoft.com/office/drawing/2014/main" id="{F4D3EF55-30E9-4929-8FB3-D0C298A81C33}"/>
              </a:ext>
            </a:extLst>
          </p:cNvPr>
          <p:cNvSpPr/>
          <p:nvPr/>
        </p:nvSpPr>
        <p:spPr>
          <a:xfrm>
            <a:off x="576263" y="5791849"/>
            <a:ext cx="3396829" cy="421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5 Communication plan</a:t>
            </a:r>
          </a:p>
        </p:txBody>
      </p:sp>
      <p:cxnSp>
        <p:nvCxnSpPr>
          <p:cNvPr id="112" name="Straight Connector 111">
            <a:extLst>
              <a:ext uri="{FF2B5EF4-FFF2-40B4-BE49-F238E27FC236}">
                <a16:creationId xmlns:a16="http://schemas.microsoft.com/office/drawing/2014/main" id="{560146DA-8FAC-4B3C-B39F-C23456D681C2}"/>
              </a:ext>
            </a:extLst>
          </p:cNvPr>
          <p:cNvCxnSpPr>
            <a:cxnSpLocks/>
          </p:cNvCxnSpPr>
          <p:nvPr/>
        </p:nvCxnSpPr>
        <p:spPr>
          <a:xfrm flipV="1">
            <a:off x="576262" y="5779989"/>
            <a:ext cx="11039476" cy="1671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444C5F8-73FE-4FDD-86AA-E6DF5008F466}"/>
              </a:ext>
            </a:extLst>
          </p:cNvPr>
          <p:cNvSpPr/>
          <p:nvPr/>
        </p:nvSpPr>
        <p:spPr>
          <a:xfrm>
            <a:off x="7830993" y="5894565"/>
            <a:ext cx="3791271"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16" name="Group 215">
            <a:extLst>
              <a:ext uri="{FF2B5EF4-FFF2-40B4-BE49-F238E27FC236}">
                <a16:creationId xmlns:a16="http://schemas.microsoft.com/office/drawing/2014/main" id="{B87645C4-14E2-4037-9654-93B42DFF94C8}"/>
              </a:ext>
            </a:extLst>
          </p:cNvPr>
          <p:cNvGrpSpPr/>
          <p:nvPr/>
        </p:nvGrpSpPr>
        <p:grpSpPr>
          <a:xfrm>
            <a:off x="4187415" y="5858703"/>
            <a:ext cx="649160" cy="282380"/>
            <a:chOff x="4188810" y="4154815"/>
            <a:chExt cx="649160" cy="282380"/>
          </a:xfrm>
        </p:grpSpPr>
        <p:sp>
          <p:nvSpPr>
            <p:cNvPr id="217" name="Freeform 39">
              <a:extLst>
                <a:ext uri="{FF2B5EF4-FFF2-40B4-BE49-F238E27FC236}">
                  <a16:creationId xmlns:a16="http://schemas.microsoft.com/office/drawing/2014/main" id="{3BF30A17-7567-49BE-A744-79D7930B3BC0}"/>
                </a:ext>
              </a:extLst>
            </p:cNvPr>
            <p:cNvSpPr>
              <a:spLocks/>
            </p:cNvSpPr>
            <p:nvPr/>
          </p:nvSpPr>
          <p:spPr bwMode="auto">
            <a:xfrm>
              <a:off x="4188810" y="415481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EYInterstate Light"/>
                  <a:ea typeface="+mn-ea"/>
                  <a:cs typeface="+mn-cs"/>
                </a:rPr>
                <a:t>S</a:t>
              </a:r>
            </a:p>
          </p:txBody>
        </p:sp>
        <p:sp>
          <p:nvSpPr>
            <p:cNvPr id="218" name="Freeform 39">
              <a:extLst>
                <a:ext uri="{FF2B5EF4-FFF2-40B4-BE49-F238E27FC236}">
                  <a16:creationId xmlns:a16="http://schemas.microsoft.com/office/drawing/2014/main" id="{36ED7A3E-53F0-4AA6-9358-6541B1008B3D}"/>
                </a:ext>
              </a:extLst>
            </p:cNvPr>
            <p:cNvSpPr>
              <a:spLocks/>
            </p:cNvSpPr>
            <p:nvPr/>
          </p:nvSpPr>
          <p:spPr bwMode="auto">
            <a:xfrm>
              <a:off x="451412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a:ea typeface="+mn-ea"/>
                  <a:cs typeface="+mn-cs"/>
                </a:rPr>
                <a:t>S</a:t>
              </a:r>
            </a:p>
          </p:txBody>
        </p:sp>
      </p:grpSp>
      <p:sp>
        <p:nvSpPr>
          <p:cNvPr id="185" name="Rectangle 184">
            <a:extLst>
              <a:ext uri="{FF2B5EF4-FFF2-40B4-BE49-F238E27FC236}">
                <a16:creationId xmlns:a16="http://schemas.microsoft.com/office/drawing/2014/main" id="{D1272295-8281-4E5E-A8DF-715804709B86}"/>
              </a:ext>
            </a:extLst>
          </p:cNvPr>
          <p:cNvSpPr/>
          <p:nvPr/>
        </p:nvSpPr>
        <p:spPr>
          <a:xfrm>
            <a:off x="8265828" y="6285663"/>
            <a:ext cx="3356436"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FECBF2FE-F227-4A5E-AE44-D0337207E32B}"/>
              </a:ext>
            </a:extLst>
          </p:cNvPr>
          <p:cNvSpPr/>
          <p:nvPr/>
        </p:nvSpPr>
        <p:spPr>
          <a:xfrm>
            <a:off x="576263" y="6179199"/>
            <a:ext cx="3396829" cy="421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6 </a:t>
            </a: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Kick off Data Governance processes</a:t>
            </a:r>
          </a:p>
        </p:txBody>
      </p:sp>
      <p:cxnSp>
        <p:nvCxnSpPr>
          <p:cNvPr id="154" name="Straight Connector 153">
            <a:extLst>
              <a:ext uri="{FF2B5EF4-FFF2-40B4-BE49-F238E27FC236}">
                <a16:creationId xmlns:a16="http://schemas.microsoft.com/office/drawing/2014/main" id="{B3E43D52-0FD4-4F02-96DB-E09428CE909C}"/>
              </a:ext>
            </a:extLst>
          </p:cNvPr>
          <p:cNvCxnSpPr>
            <a:cxnSpLocks/>
          </p:cNvCxnSpPr>
          <p:nvPr/>
        </p:nvCxnSpPr>
        <p:spPr>
          <a:xfrm flipV="1">
            <a:off x="576262" y="6195914"/>
            <a:ext cx="11039476" cy="16719"/>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BB46C091-C3E9-471A-A1D1-829DED386B53}"/>
              </a:ext>
            </a:extLst>
          </p:cNvPr>
          <p:cNvGrpSpPr/>
          <p:nvPr/>
        </p:nvGrpSpPr>
        <p:grpSpPr>
          <a:xfrm>
            <a:off x="4187415" y="6246053"/>
            <a:ext cx="1299780" cy="282380"/>
            <a:chOff x="4188810" y="4154815"/>
            <a:chExt cx="1299780" cy="282380"/>
          </a:xfrm>
        </p:grpSpPr>
        <p:sp>
          <p:nvSpPr>
            <p:cNvPr id="163" name="Freeform 39">
              <a:extLst>
                <a:ext uri="{FF2B5EF4-FFF2-40B4-BE49-F238E27FC236}">
                  <a16:creationId xmlns:a16="http://schemas.microsoft.com/office/drawing/2014/main" id="{6CCA3EC9-25E9-4F2F-861B-368A47644569}"/>
                </a:ext>
              </a:extLst>
            </p:cNvPr>
            <p:cNvSpPr>
              <a:spLocks/>
            </p:cNvSpPr>
            <p:nvPr/>
          </p:nvSpPr>
          <p:spPr bwMode="auto">
            <a:xfrm>
              <a:off x="4188810" y="415481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EYInterstate Light"/>
                  <a:ea typeface="+mn-ea"/>
                  <a:cs typeface="+mn-cs"/>
                </a:rPr>
                <a:t>XL</a:t>
              </a:r>
            </a:p>
          </p:txBody>
        </p:sp>
        <p:sp>
          <p:nvSpPr>
            <p:cNvPr id="164" name="Freeform 39">
              <a:extLst>
                <a:ext uri="{FF2B5EF4-FFF2-40B4-BE49-F238E27FC236}">
                  <a16:creationId xmlns:a16="http://schemas.microsoft.com/office/drawing/2014/main" id="{10C77BF3-200F-483B-A905-4DF6809F6F54}"/>
                </a:ext>
              </a:extLst>
            </p:cNvPr>
            <p:cNvSpPr>
              <a:spLocks/>
            </p:cNvSpPr>
            <p:nvPr/>
          </p:nvSpPr>
          <p:spPr bwMode="auto">
            <a:xfrm>
              <a:off x="451412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EYInterstate Light"/>
                  <a:ea typeface="+mn-ea"/>
                  <a:cs typeface="+mn-cs"/>
                </a:rPr>
                <a:t>XL</a:t>
              </a:r>
            </a:p>
          </p:txBody>
        </p:sp>
        <p:sp>
          <p:nvSpPr>
            <p:cNvPr id="165" name="Freeform 39">
              <a:extLst>
                <a:ext uri="{FF2B5EF4-FFF2-40B4-BE49-F238E27FC236}">
                  <a16:creationId xmlns:a16="http://schemas.microsoft.com/office/drawing/2014/main" id="{8EF86A5A-9CB7-4EDD-A543-FA01A67E9BB9}"/>
                </a:ext>
              </a:extLst>
            </p:cNvPr>
            <p:cNvSpPr>
              <a:spLocks/>
            </p:cNvSpPr>
            <p:nvPr/>
          </p:nvSpPr>
          <p:spPr bwMode="auto">
            <a:xfrm>
              <a:off x="483943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chemeClr val="tx2"/>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EYInterstate Light"/>
                  <a:ea typeface="+mn-ea"/>
                  <a:cs typeface="+mn-cs"/>
                </a:rPr>
                <a:t>XL</a:t>
              </a:r>
            </a:p>
          </p:txBody>
        </p:sp>
        <p:sp>
          <p:nvSpPr>
            <p:cNvPr id="166" name="Freeform 39">
              <a:extLst>
                <a:ext uri="{FF2B5EF4-FFF2-40B4-BE49-F238E27FC236}">
                  <a16:creationId xmlns:a16="http://schemas.microsoft.com/office/drawing/2014/main" id="{F8214793-93BC-49A3-B1AA-3E2D59B882BE}"/>
                </a:ext>
              </a:extLst>
            </p:cNvPr>
            <p:cNvSpPr>
              <a:spLocks/>
            </p:cNvSpPr>
            <p:nvPr/>
          </p:nvSpPr>
          <p:spPr bwMode="auto">
            <a:xfrm>
              <a:off x="5164740" y="4158642"/>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72BF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EYInterstate Light"/>
                  <a:ea typeface="+mn-ea"/>
                  <a:cs typeface="+mn-cs"/>
                </a:rPr>
                <a:t>XL</a:t>
              </a:r>
            </a:p>
          </p:txBody>
        </p:sp>
      </p:grpSp>
      <p:grpSp>
        <p:nvGrpSpPr>
          <p:cNvPr id="167" name="Group 166">
            <a:extLst>
              <a:ext uri="{FF2B5EF4-FFF2-40B4-BE49-F238E27FC236}">
                <a16:creationId xmlns:a16="http://schemas.microsoft.com/office/drawing/2014/main" id="{D6290F83-9E8E-4719-8473-97201F5E9B45}"/>
              </a:ext>
            </a:extLst>
          </p:cNvPr>
          <p:cNvGrpSpPr/>
          <p:nvPr/>
        </p:nvGrpSpPr>
        <p:grpSpPr>
          <a:xfrm>
            <a:off x="576262" y="336443"/>
            <a:ext cx="11052001" cy="1080744"/>
            <a:chOff x="576262" y="336443"/>
            <a:chExt cx="11052001" cy="1080744"/>
          </a:xfrm>
        </p:grpSpPr>
        <p:sp>
          <p:nvSpPr>
            <p:cNvPr id="168" name="TextBox 29">
              <a:extLst>
                <a:ext uri="{FF2B5EF4-FFF2-40B4-BE49-F238E27FC236}">
                  <a16:creationId xmlns:a16="http://schemas.microsoft.com/office/drawing/2014/main" id="{6A186C0C-1535-4EED-B797-BAF25E9A0D75}"/>
                </a:ext>
              </a:extLst>
            </p:cNvPr>
            <p:cNvSpPr txBox="1"/>
            <p:nvPr/>
          </p:nvSpPr>
          <p:spPr>
            <a:xfrm>
              <a:off x="576262" y="1019046"/>
              <a:ext cx="2632527" cy="398141"/>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1200" cap="all" spc="60" normalizeH="0" baseline="0" noProof="0">
                  <a:ln>
                    <a:noFill/>
                  </a:ln>
                  <a:solidFill>
                    <a:srgbClr val="0069B4"/>
                  </a:solidFill>
                  <a:effectLst/>
                  <a:uLnTx/>
                  <a:uFillTx/>
                  <a:latin typeface="Calibri Light" panose="020F0302020204030204"/>
                  <a:ea typeface="+mn-ea"/>
                  <a:cs typeface="+mn-cs"/>
                </a:rPr>
                <a:t>USE CASE OWNER: Lance Cameron</a:t>
              </a:r>
            </a:p>
          </p:txBody>
        </p:sp>
        <p:sp>
          <p:nvSpPr>
            <p:cNvPr id="169" name="TextBox 29">
              <a:extLst>
                <a:ext uri="{FF2B5EF4-FFF2-40B4-BE49-F238E27FC236}">
                  <a16:creationId xmlns:a16="http://schemas.microsoft.com/office/drawing/2014/main" id="{3D673853-3F2C-4872-AE94-1798E73292E3}"/>
                </a:ext>
              </a:extLst>
            </p:cNvPr>
            <p:cNvSpPr txBox="1"/>
            <p:nvPr/>
          </p:nvSpPr>
          <p:spPr>
            <a:xfrm>
              <a:off x="576263" y="336443"/>
              <a:ext cx="11052000" cy="454705"/>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1200" cap="all" spc="60" normalizeH="0" baseline="0" noProof="0">
                  <a:ln>
                    <a:noFill/>
                  </a:ln>
                  <a:solidFill>
                    <a:srgbClr val="000000"/>
                  </a:solidFill>
                  <a:effectLst/>
                  <a:uLnTx/>
                  <a:uFillTx/>
                  <a:latin typeface="Calibri Light" panose="020F0302020204030204"/>
                  <a:ea typeface="+mn-ea"/>
                  <a:cs typeface="+mn-cs"/>
                </a:rPr>
                <a:t>Use case #4: Re-launch Data Governance </a:t>
              </a:r>
              <a:r>
                <a:rPr kumimoji="0" lang="en-US" sz="1200" b="0" i="0" u="none" strike="noStrike" kern="1200" cap="all" spc="60" normalizeH="0" baseline="0" noProof="0">
                  <a:ln>
                    <a:noFill/>
                  </a:ln>
                  <a:solidFill>
                    <a:srgbClr val="000000"/>
                  </a:solidFill>
                  <a:effectLst/>
                  <a:uLnTx/>
                  <a:uFillTx/>
                  <a:latin typeface="Calibri Light" panose="020F0302020204030204"/>
                  <a:ea typeface="+mn-ea"/>
                  <a:cs typeface="+mn-cs"/>
                </a:rPr>
                <a:t>throughout the global organization based on revisited documents (focus on partnering with business); determine together with data owners the order and timeline of implementing renewed Data Management capabilities on data domains by taking into account the business availability</a:t>
              </a:r>
            </a:p>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0" i="0" u="none" strike="noStrike" kern="1200" cap="all" spc="60" normalizeH="0" baseline="0" noProof="0">
                  <a:ln>
                    <a:noFill/>
                  </a:ln>
                  <a:solidFill>
                    <a:srgbClr val="000000"/>
                  </a:solidFill>
                  <a:effectLst/>
                  <a:uLnTx/>
                  <a:uFillTx/>
                  <a:latin typeface="Calibri Light" panose="020F0302020204030204"/>
                  <a:ea typeface="+mn-ea"/>
                  <a:cs typeface="+mn-cs"/>
                </a:rPr>
                <a:t> </a:t>
              </a:r>
            </a:p>
            <a:p>
              <a:pPr marL="0" marR="0" lvl="0" indent="0" algn="l" defTabSz="913943" rtl="0" eaLnBrk="1" fontAlgn="auto" latinLnBrk="0" hangingPunct="1">
                <a:lnSpc>
                  <a:spcPct val="130000"/>
                </a:lnSpc>
                <a:spcBef>
                  <a:spcPts val="0"/>
                </a:spcBef>
                <a:spcAft>
                  <a:spcPts val="0"/>
                </a:spcAft>
                <a:buClrTx/>
                <a:buSzTx/>
                <a:buFontTx/>
                <a:buNone/>
                <a:tabLst/>
                <a:defRPr/>
              </a:pPr>
              <a:br>
                <a:rPr kumimoji="0" lang="en-US" sz="1200" b="0" i="0" u="none" strike="noStrike" kern="1200" cap="all" spc="60" normalizeH="0" baseline="0" noProof="0">
                  <a:ln>
                    <a:noFill/>
                  </a:ln>
                  <a:solidFill>
                    <a:srgbClr val="001F5B"/>
                  </a:solidFill>
                  <a:effectLst/>
                  <a:uLnTx/>
                  <a:uFillTx/>
                  <a:latin typeface="Calibri Light" panose="020F0302020204030204"/>
                  <a:ea typeface="+mn-ea"/>
                  <a:cs typeface="+mn-cs"/>
                </a:rPr>
              </a:br>
              <a:r>
                <a:rPr kumimoji="0" lang="en-US" sz="1200" b="0" i="0" u="none" strike="noStrike" kern="0" cap="none" spc="0" normalizeH="0" baseline="0" noProof="0">
                  <a:ln>
                    <a:noFill/>
                  </a:ln>
                  <a:solidFill>
                    <a:srgbClr val="001F5B"/>
                  </a:solidFill>
                  <a:effectLst/>
                  <a:uLnTx/>
                  <a:uFillTx/>
                  <a:latin typeface="Calibri Light" panose="020F0302020204030204"/>
                  <a:ea typeface="+mn-ea"/>
                  <a:cs typeface="+mn-cs"/>
                </a:rPr>
                <a:t>  </a:t>
              </a:r>
            </a:p>
          </p:txBody>
        </p:sp>
      </p:grpSp>
      <p:cxnSp>
        <p:nvCxnSpPr>
          <p:cNvPr id="170" name="Straight Connector 169">
            <a:extLst>
              <a:ext uri="{FF2B5EF4-FFF2-40B4-BE49-F238E27FC236}">
                <a16:creationId xmlns:a16="http://schemas.microsoft.com/office/drawing/2014/main" id="{1D8B3CFE-A615-4573-8E90-B293324240CE}"/>
              </a:ext>
            </a:extLst>
          </p:cNvPr>
          <p:cNvCxnSpPr>
            <a:cxnSpLocks/>
          </p:cNvCxnSpPr>
          <p:nvPr/>
        </p:nvCxnSpPr>
        <p:spPr>
          <a:xfrm>
            <a:off x="576263" y="1285746"/>
            <a:ext cx="11052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252F7950-E03F-490F-A6C9-82FDD1D2D460}"/>
              </a:ext>
            </a:extLst>
          </p:cNvPr>
          <p:cNvSpPr/>
          <p:nvPr/>
        </p:nvSpPr>
        <p:spPr>
          <a:xfrm>
            <a:off x="9528629"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Feb</a:t>
            </a:r>
          </a:p>
        </p:txBody>
      </p:sp>
      <p:sp>
        <p:nvSpPr>
          <p:cNvPr id="172" name="Rectangle 171">
            <a:extLst>
              <a:ext uri="{FF2B5EF4-FFF2-40B4-BE49-F238E27FC236}">
                <a16:creationId xmlns:a16="http://schemas.microsoft.com/office/drawing/2014/main" id="{B8115056-3D89-473F-B460-3C3D35574A7F}"/>
              </a:ext>
            </a:extLst>
          </p:cNvPr>
          <p:cNvSpPr/>
          <p:nvPr/>
        </p:nvSpPr>
        <p:spPr>
          <a:xfrm>
            <a:off x="10377447"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Apr</a:t>
            </a:r>
          </a:p>
        </p:txBody>
      </p:sp>
      <p:sp>
        <p:nvSpPr>
          <p:cNvPr id="173" name="Rectangle 172">
            <a:extLst>
              <a:ext uri="{FF2B5EF4-FFF2-40B4-BE49-F238E27FC236}">
                <a16:creationId xmlns:a16="http://schemas.microsoft.com/office/drawing/2014/main" id="{3574E7E8-4CE0-4808-8AFF-1A952AC61EBC}"/>
              </a:ext>
            </a:extLst>
          </p:cNvPr>
          <p:cNvSpPr/>
          <p:nvPr/>
        </p:nvSpPr>
        <p:spPr>
          <a:xfrm>
            <a:off x="5708948"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000000"/>
                </a:solidFill>
                <a:effectLst/>
                <a:uLnTx/>
                <a:uFillTx/>
                <a:latin typeface="Calibri" panose="020F0502020204030204"/>
                <a:ea typeface="+mn-ea"/>
                <a:cs typeface="+mn-cs"/>
              </a:rPr>
              <a:t>May</a:t>
            </a:r>
          </a:p>
        </p:txBody>
      </p:sp>
      <p:sp>
        <p:nvSpPr>
          <p:cNvPr id="174" name="Rectangle 173">
            <a:extLst>
              <a:ext uri="{FF2B5EF4-FFF2-40B4-BE49-F238E27FC236}">
                <a16:creationId xmlns:a16="http://schemas.microsoft.com/office/drawing/2014/main" id="{80864A57-A71B-4A6F-97FB-1F77BDC071CB}"/>
              </a:ext>
            </a:extLst>
          </p:cNvPr>
          <p:cNvSpPr/>
          <p:nvPr/>
        </p:nvSpPr>
        <p:spPr>
          <a:xfrm>
            <a:off x="11226264"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Jun</a:t>
            </a:r>
          </a:p>
        </p:txBody>
      </p:sp>
      <p:sp>
        <p:nvSpPr>
          <p:cNvPr id="179" name="Rectangle 178">
            <a:extLst>
              <a:ext uri="{FF2B5EF4-FFF2-40B4-BE49-F238E27FC236}">
                <a16:creationId xmlns:a16="http://schemas.microsoft.com/office/drawing/2014/main" id="{BB476BDE-3756-4A49-8420-8A9CFF44B1E8}"/>
              </a:ext>
            </a:extLst>
          </p:cNvPr>
          <p:cNvSpPr/>
          <p:nvPr/>
        </p:nvSpPr>
        <p:spPr>
          <a:xfrm>
            <a:off x="10801856"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000000"/>
                </a:solidFill>
                <a:effectLst/>
                <a:uLnTx/>
                <a:uFillTx/>
                <a:latin typeface="Calibri" panose="020F0502020204030204"/>
                <a:ea typeface="+mn-ea"/>
                <a:cs typeface="+mn-cs"/>
              </a:rPr>
              <a:t>May</a:t>
            </a:r>
          </a:p>
        </p:txBody>
      </p:sp>
      <p:sp>
        <p:nvSpPr>
          <p:cNvPr id="180" name="Rectangle 179">
            <a:extLst>
              <a:ext uri="{FF2B5EF4-FFF2-40B4-BE49-F238E27FC236}">
                <a16:creationId xmlns:a16="http://schemas.microsoft.com/office/drawing/2014/main" id="{AB2913FE-8BB2-4C33-B601-5CEF7BF0C506}"/>
              </a:ext>
            </a:extLst>
          </p:cNvPr>
          <p:cNvSpPr/>
          <p:nvPr/>
        </p:nvSpPr>
        <p:spPr>
          <a:xfrm>
            <a:off x="9953038"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Mar</a:t>
            </a:r>
          </a:p>
        </p:txBody>
      </p:sp>
      <p:sp>
        <p:nvSpPr>
          <p:cNvPr id="182" name="Rectangle 181">
            <a:extLst>
              <a:ext uri="{FF2B5EF4-FFF2-40B4-BE49-F238E27FC236}">
                <a16:creationId xmlns:a16="http://schemas.microsoft.com/office/drawing/2014/main" id="{66106F42-5A07-4F76-B040-1B2FF840E262}"/>
              </a:ext>
            </a:extLst>
          </p:cNvPr>
          <p:cNvSpPr/>
          <p:nvPr/>
        </p:nvSpPr>
        <p:spPr>
          <a:xfrm>
            <a:off x="6982175"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Aug</a:t>
            </a:r>
          </a:p>
        </p:txBody>
      </p:sp>
      <p:sp>
        <p:nvSpPr>
          <p:cNvPr id="183" name="Rectangle 182">
            <a:extLst>
              <a:ext uri="{FF2B5EF4-FFF2-40B4-BE49-F238E27FC236}">
                <a16:creationId xmlns:a16="http://schemas.microsoft.com/office/drawing/2014/main" id="{89012B2D-79C6-408F-8393-80A2C91BBF88}"/>
              </a:ext>
            </a:extLst>
          </p:cNvPr>
          <p:cNvSpPr/>
          <p:nvPr/>
        </p:nvSpPr>
        <p:spPr>
          <a:xfrm>
            <a:off x="7830993" y="3962680"/>
            <a:ext cx="396000" cy="1580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Oct</a:t>
            </a:r>
          </a:p>
        </p:txBody>
      </p:sp>
      <p:sp>
        <p:nvSpPr>
          <p:cNvPr id="184" name="Rectangle 183">
            <a:extLst>
              <a:ext uri="{FF2B5EF4-FFF2-40B4-BE49-F238E27FC236}">
                <a16:creationId xmlns:a16="http://schemas.microsoft.com/office/drawing/2014/main" id="{951315C0-D6BD-4C69-B1E5-BD852A08AF87}"/>
              </a:ext>
            </a:extLst>
          </p:cNvPr>
          <p:cNvSpPr/>
          <p:nvPr/>
        </p:nvSpPr>
        <p:spPr>
          <a:xfrm>
            <a:off x="7604584" y="4623576"/>
            <a:ext cx="2988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Rectangle 185">
            <a:extLst>
              <a:ext uri="{FF2B5EF4-FFF2-40B4-BE49-F238E27FC236}">
                <a16:creationId xmlns:a16="http://schemas.microsoft.com/office/drawing/2014/main" id="{7A5D8DA5-40CD-433E-A470-8CC974D49099}"/>
              </a:ext>
            </a:extLst>
          </p:cNvPr>
          <p:cNvSpPr/>
          <p:nvPr/>
        </p:nvSpPr>
        <p:spPr>
          <a:xfrm>
            <a:off x="9107205" y="4113744"/>
            <a:ext cx="396000" cy="158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23</a:t>
            </a:r>
          </a:p>
        </p:txBody>
      </p:sp>
      <p:grpSp>
        <p:nvGrpSpPr>
          <p:cNvPr id="190" name="Group 189">
            <a:extLst>
              <a:ext uri="{FF2B5EF4-FFF2-40B4-BE49-F238E27FC236}">
                <a16:creationId xmlns:a16="http://schemas.microsoft.com/office/drawing/2014/main" id="{F84B065A-82A7-42D3-BD18-6C7A4F207F80}"/>
              </a:ext>
            </a:extLst>
          </p:cNvPr>
          <p:cNvGrpSpPr/>
          <p:nvPr/>
        </p:nvGrpSpPr>
        <p:grpSpPr>
          <a:xfrm>
            <a:off x="576263" y="1634806"/>
            <a:ext cx="2022968" cy="1778088"/>
            <a:chOff x="576263" y="1638821"/>
            <a:chExt cx="2022968" cy="1778088"/>
          </a:xfrm>
        </p:grpSpPr>
        <p:sp>
          <p:nvSpPr>
            <p:cNvPr id="191" name="Rectangle 190">
              <a:extLst>
                <a:ext uri="{FF2B5EF4-FFF2-40B4-BE49-F238E27FC236}">
                  <a16:creationId xmlns:a16="http://schemas.microsoft.com/office/drawing/2014/main" id="{A27EDB26-0BFB-43F9-BBEC-3226839EFE87}"/>
                </a:ext>
              </a:extLst>
            </p:cNvPr>
            <p:cNvSpPr/>
            <p:nvPr/>
          </p:nvSpPr>
          <p:spPr>
            <a:xfrm>
              <a:off x="576263" y="1762423"/>
              <a:ext cx="2022968" cy="16544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tlCol="0" anchor="ctr"/>
            <a:lstStyle/>
            <a:p>
              <a:pPr marL="269875" marR="0" lvl="0" indent="-182563" algn="l" defTabSz="457200" rtl="0" eaLnBrk="1" fontAlgn="auto" latinLnBrk="0" hangingPunct="1">
                <a:lnSpc>
                  <a:spcPct val="100000"/>
                </a:lnSpc>
                <a:spcBef>
                  <a:spcPts val="0"/>
                </a:spcBef>
                <a:spcAft>
                  <a:spcPts val="0"/>
                </a:spcAft>
                <a:buClr>
                  <a:srgbClr val="0069B4"/>
                </a:buClr>
                <a:buSzPct val="75000"/>
                <a:buFont typeface="Wingdings 3" panose="05040102010807070707" pitchFamily="18" charset="2"/>
                <a:buChar char=""/>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External Collibra Specialist </a:t>
              </a:r>
              <a:endParaRPr kumimoji="0" lang="nl-NL" sz="1000" b="0" i="0" u="none" strike="noStrike" kern="1200" cap="none" spc="0" normalizeH="0" baseline="0" noProof="0">
                <a:ln>
                  <a:noFill/>
                </a:ln>
                <a:solidFill>
                  <a:srgbClr val="0069B4"/>
                </a:solidFill>
                <a:effectLst/>
                <a:uLnTx/>
                <a:uFillTx/>
                <a:latin typeface="Calibri" panose="020F0502020204030204"/>
                <a:ea typeface="+mn-ea"/>
                <a:cs typeface="+mn-cs"/>
              </a:endParaRPr>
            </a:p>
          </p:txBody>
        </p:sp>
        <p:sp>
          <p:nvSpPr>
            <p:cNvPr id="192" name="TextBox 191">
              <a:extLst>
                <a:ext uri="{FF2B5EF4-FFF2-40B4-BE49-F238E27FC236}">
                  <a16:creationId xmlns:a16="http://schemas.microsoft.com/office/drawing/2014/main" id="{9C6AA040-9655-440F-A20A-87366BE48C86}"/>
                </a:ext>
              </a:extLst>
            </p:cNvPr>
            <p:cNvSpPr txBox="1"/>
            <p:nvPr/>
          </p:nvSpPr>
          <p:spPr>
            <a:xfrm>
              <a:off x="741747" y="1638821"/>
              <a:ext cx="1692000" cy="184666"/>
            </a:xfrm>
            <a:prstGeom prst="rect">
              <a:avLst/>
            </a:prstGeom>
            <a:solidFill>
              <a:schemeClr val="bg1"/>
            </a:solidFill>
            <a:ln w="12700">
              <a:noFill/>
            </a:ln>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9B4"/>
                  </a:solidFill>
                  <a:effectLst/>
                  <a:uLnTx/>
                  <a:uFillTx/>
                  <a:latin typeface="Calibri" panose="020F0502020204030204"/>
                  <a:ea typeface="+mn-ea"/>
                  <a:cs typeface="+mn-cs"/>
                </a:rPr>
                <a:t>Additional</a:t>
              </a:r>
              <a:r>
                <a:rPr kumimoji="0" lang="nl-NL" sz="1200" b="0" i="0" u="none" strike="noStrike" kern="1200" cap="none" spc="0" normalizeH="0" baseline="0" noProof="0">
                  <a:ln>
                    <a:noFill/>
                  </a:ln>
                  <a:solidFill>
                    <a:srgbClr val="0069B4"/>
                  </a:solidFill>
                  <a:effectLst/>
                  <a:uLnTx/>
                  <a:uFillTx/>
                  <a:latin typeface="Calibri" panose="020F0502020204030204"/>
                  <a:ea typeface="+mn-ea"/>
                  <a:cs typeface="+mn-cs"/>
                </a:rPr>
                <a:t> Budget Items</a:t>
              </a:r>
            </a:p>
          </p:txBody>
        </p:sp>
      </p:grpSp>
      <p:grpSp>
        <p:nvGrpSpPr>
          <p:cNvPr id="193" name="Group 192">
            <a:extLst>
              <a:ext uri="{FF2B5EF4-FFF2-40B4-BE49-F238E27FC236}">
                <a16:creationId xmlns:a16="http://schemas.microsoft.com/office/drawing/2014/main" id="{91D68AF0-A648-4220-8483-E826798FEED2}"/>
              </a:ext>
            </a:extLst>
          </p:cNvPr>
          <p:cNvGrpSpPr/>
          <p:nvPr/>
        </p:nvGrpSpPr>
        <p:grpSpPr>
          <a:xfrm>
            <a:off x="4187415" y="5451763"/>
            <a:ext cx="1299780" cy="282380"/>
            <a:chOff x="4188810" y="4154815"/>
            <a:chExt cx="1299780" cy="282380"/>
          </a:xfrm>
        </p:grpSpPr>
        <p:sp>
          <p:nvSpPr>
            <p:cNvPr id="194" name="Freeform 39">
              <a:extLst>
                <a:ext uri="{FF2B5EF4-FFF2-40B4-BE49-F238E27FC236}">
                  <a16:creationId xmlns:a16="http://schemas.microsoft.com/office/drawing/2014/main" id="{0F11D700-B454-481C-B6B0-A7FFBA3BC690}"/>
                </a:ext>
              </a:extLst>
            </p:cNvPr>
            <p:cNvSpPr>
              <a:spLocks/>
            </p:cNvSpPr>
            <p:nvPr/>
          </p:nvSpPr>
          <p:spPr bwMode="auto">
            <a:xfrm>
              <a:off x="4188810" y="4154815"/>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FFE6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EYInterstate Light"/>
                  <a:ea typeface="+mn-ea"/>
                  <a:cs typeface="+mn-cs"/>
                </a:rPr>
                <a:t>XL</a:t>
              </a:r>
            </a:p>
          </p:txBody>
        </p:sp>
        <p:sp>
          <p:nvSpPr>
            <p:cNvPr id="195" name="Freeform 39">
              <a:extLst>
                <a:ext uri="{FF2B5EF4-FFF2-40B4-BE49-F238E27FC236}">
                  <a16:creationId xmlns:a16="http://schemas.microsoft.com/office/drawing/2014/main" id="{3BF842F4-A90D-4F23-B511-A0C91E8061EE}"/>
                </a:ext>
              </a:extLst>
            </p:cNvPr>
            <p:cNvSpPr>
              <a:spLocks/>
            </p:cNvSpPr>
            <p:nvPr/>
          </p:nvSpPr>
          <p:spPr bwMode="auto">
            <a:xfrm>
              <a:off x="451412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069B4"/>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EYInterstate Light"/>
                  <a:ea typeface="+mn-ea"/>
                  <a:cs typeface="+mn-cs"/>
                </a:rPr>
                <a:t>XL</a:t>
              </a:r>
            </a:p>
          </p:txBody>
        </p:sp>
        <p:sp>
          <p:nvSpPr>
            <p:cNvPr id="196" name="Freeform 39">
              <a:extLst>
                <a:ext uri="{FF2B5EF4-FFF2-40B4-BE49-F238E27FC236}">
                  <a16:creationId xmlns:a16="http://schemas.microsoft.com/office/drawing/2014/main" id="{BD0A4F97-CA10-40EF-89D2-1B5BD0D94E28}"/>
                </a:ext>
              </a:extLst>
            </p:cNvPr>
            <p:cNvSpPr>
              <a:spLocks/>
            </p:cNvSpPr>
            <p:nvPr/>
          </p:nvSpPr>
          <p:spPr bwMode="auto">
            <a:xfrm>
              <a:off x="4839430" y="4160974"/>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chemeClr val="tx2"/>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EYInterstate Light"/>
                  <a:ea typeface="+mn-ea"/>
                  <a:cs typeface="+mn-cs"/>
                </a:rPr>
                <a:t>XL</a:t>
              </a:r>
            </a:p>
          </p:txBody>
        </p:sp>
        <p:sp>
          <p:nvSpPr>
            <p:cNvPr id="197" name="Freeform 39">
              <a:extLst>
                <a:ext uri="{FF2B5EF4-FFF2-40B4-BE49-F238E27FC236}">
                  <a16:creationId xmlns:a16="http://schemas.microsoft.com/office/drawing/2014/main" id="{78D0B94A-1061-4759-B333-9EF2D5E430CE}"/>
                </a:ext>
              </a:extLst>
            </p:cNvPr>
            <p:cNvSpPr>
              <a:spLocks/>
            </p:cNvSpPr>
            <p:nvPr/>
          </p:nvSpPr>
          <p:spPr bwMode="auto">
            <a:xfrm>
              <a:off x="5164740" y="4158642"/>
              <a:ext cx="323850" cy="276221"/>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72BF00"/>
            </a:solidFill>
            <a:ln w="25400">
              <a:solidFill>
                <a:schemeClr val="bg2">
                  <a:lumMod val="65000"/>
                  <a:lumOff val="35000"/>
                </a:scheme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EYInterstate Light"/>
                  <a:ea typeface="+mn-ea"/>
                  <a:cs typeface="+mn-cs"/>
                </a:rPr>
                <a:t>XL</a:t>
              </a:r>
            </a:p>
          </p:txBody>
        </p:sp>
      </p:grpSp>
      <p:grpSp>
        <p:nvGrpSpPr>
          <p:cNvPr id="135" name="Group 134">
            <a:extLst>
              <a:ext uri="{FF2B5EF4-FFF2-40B4-BE49-F238E27FC236}">
                <a16:creationId xmlns:a16="http://schemas.microsoft.com/office/drawing/2014/main" id="{94C9AFBE-38B1-44EB-B020-4216C096F1B3}"/>
              </a:ext>
            </a:extLst>
          </p:cNvPr>
          <p:cNvGrpSpPr/>
          <p:nvPr/>
        </p:nvGrpSpPr>
        <p:grpSpPr>
          <a:xfrm>
            <a:off x="10697773" y="5504606"/>
            <a:ext cx="874572" cy="168103"/>
            <a:chOff x="10461746" y="5916428"/>
            <a:chExt cx="1085529" cy="168150"/>
          </a:xfrm>
        </p:grpSpPr>
        <p:cxnSp>
          <p:nvCxnSpPr>
            <p:cNvPr id="137" name="Straight Arrow Connector 136">
              <a:extLst>
                <a:ext uri="{FF2B5EF4-FFF2-40B4-BE49-F238E27FC236}">
                  <a16:creationId xmlns:a16="http://schemas.microsoft.com/office/drawing/2014/main" id="{131864DB-FD16-4777-ADF7-603B66DD3D51}"/>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40" name="Rectangle 139">
              <a:extLst>
                <a:ext uri="{FF2B5EF4-FFF2-40B4-BE49-F238E27FC236}">
                  <a16:creationId xmlns:a16="http://schemas.microsoft.com/office/drawing/2014/main" id="{35BBC98A-F4E9-4DA5-B99C-1D5910108386}"/>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144" name="Group 143">
            <a:extLst>
              <a:ext uri="{FF2B5EF4-FFF2-40B4-BE49-F238E27FC236}">
                <a16:creationId xmlns:a16="http://schemas.microsoft.com/office/drawing/2014/main" id="{DCBC4350-CDE1-499B-BE28-E4A37F859D06}"/>
              </a:ext>
            </a:extLst>
          </p:cNvPr>
          <p:cNvGrpSpPr/>
          <p:nvPr/>
        </p:nvGrpSpPr>
        <p:grpSpPr>
          <a:xfrm>
            <a:off x="10697773" y="5923706"/>
            <a:ext cx="874572" cy="168103"/>
            <a:chOff x="10461746" y="5916428"/>
            <a:chExt cx="1085529" cy="168150"/>
          </a:xfrm>
        </p:grpSpPr>
        <p:cxnSp>
          <p:nvCxnSpPr>
            <p:cNvPr id="145" name="Straight Arrow Connector 144">
              <a:extLst>
                <a:ext uri="{FF2B5EF4-FFF2-40B4-BE49-F238E27FC236}">
                  <a16:creationId xmlns:a16="http://schemas.microsoft.com/office/drawing/2014/main" id="{706CAD55-D828-443B-9331-418C86CF82CF}"/>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46" name="Rectangle 145">
              <a:extLst>
                <a:ext uri="{FF2B5EF4-FFF2-40B4-BE49-F238E27FC236}">
                  <a16:creationId xmlns:a16="http://schemas.microsoft.com/office/drawing/2014/main" id="{A55D8612-8772-40FB-9A7B-D2ED3E4FA4F3}"/>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grpSp>
        <p:nvGrpSpPr>
          <p:cNvPr id="149" name="Group 148">
            <a:extLst>
              <a:ext uri="{FF2B5EF4-FFF2-40B4-BE49-F238E27FC236}">
                <a16:creationId xmlns:a16="http://schemas.microsoft.com/office/drawing/2014/main" id="{CEEEC218-271D-459A-8F03-EF1F8D90B12D}"/>
              </a:ext>
            </a:extLst>
          </p:cNvPr>
          <p:cNvGrpSpPr/>
          <p:nvPr/>
        </p:nvGrpSpPr>
        <p:grpSpPr>
          <a:xfrm>
            <a:off x="10697773" y="6314231"/>
            <a:ext cx="874572" cy="168103"/>
            <a:chOff x="10461746" y="5916428"/>
            <a:chExt cx="1085529" cy="168150"/>
          </a:xfrm>
        </p:grpSpPr>
        <p:cxnSp>
          <p:nvCxnSpPr>
            <p:cNvPr id="150" name="Straight Arrow Connector 149">
              <a:extLst>
                <a:ext uri="{FF2B5EF4-FFF2-40B4-BE49-F238E27FC236}">
                  <a16:creationId xmlns:a16="http://schemas.microsoft.com/office/drawing/2014/main" id="{CF1F8286-AECD-4BC0-A705-1A2A47CC72DC}"/>
                </a:ext>
              </a:extLst>
            </p:cNvPr>
            <p:cNvCxnSpPr>
              <a:cxnSpLocks/>
            </p:cNvCxnSpPr>
            <p:nvPr/>
          </p:nvCxnSpPr>
          <p:spPr>
            <a:xfrm flipV="1">
              <a:off x="11210318" y="5996941"/>
              <a:ext cx="329302" cy="3562"/>
            </a:xfrm>
            <a:prstGeom prst="straightConnector1">
              <a:avLst/>
            </a:prstGeom>
            <a:noFill/>
            <a:ln w="6350" cap="flat" cmpd="sng" algn="ctr">
              <a:solidFill>
                <a:sysClr val="window" lastClr="FFFFFF"/>
              </a:solidFill>
              <a:prstDash val="solid"/>
              <a:miter lim="800000"/>
              <a:tailEnd type="triangle"/>
            </a:ln>
            <a:effectLst/>
          </p:spPr>
        </p:cxnSp>
        <p:sp>
          <p:nvSpPr>
            <p:cNvPr id="151" name="Rectangle 150">
              <a:extLst>
                <a:ext uri="{FF2B5EF4-FFF2-40B4-BE49-F238E27FC236}">
                  <a16:creationId xmlns:a16="http://schemas.microsoft.com/office/drawing/2014/main" id="{11BBB96B-0080-46EE-82D9-ED0992369F5D}"/>
                </a:ext>
              </a:extLst>
            </p:cNvPr>
            <p:cNvSpPr/>
            <p:nvPr/>
          </p:nvSpPr>
          <p:spPr>
            <a:xfrm>
              <a:off x="10461746" y="5916428"/>
              <a:ext cx="1085529" cy="16815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white"/>
                  </a:solidFill>
                  <a:effectLst/>
                  <a:uLnTx/>
                  <a:uFillTx/>
                  <a:latin typeface="Calibri" panose="020F0502020204030204"/>
                  <a:ea typeface="+mn-ea"/>
                  <a:cs typeface="+mn-cs"/>
                </a:rPr>
                <a:t>2024</a:t>
              </a:r>
            </a:p>
          </p:txBody>
        </p:sp>
      </p:grpSp>
      <p:sp>
        <p:nvSpPr>
          <p:cNvPr id="155" name="Rectangle 154">
            <a:extLst>
              <a:ext uri="{FF2B5EF4-FFF2-40B4-BE49-F238E27FC236}">
                <a16:creationId xmlns:a16="http://schemas.microsoft.com/office/drawing/2014/main" id="{E3B75DAF-C2A9-450A-B58E-9C0A81918463}"/>
              </a:ext>
            </a:extLst>
          </p:cNvPr>
          <p:cNvSpPr/>
          <p:nvPr/>
        </p:nvSpPr>
        <p:spPr>
          <a:xfrm>
            <a:off x="8265828" y="1758409"/>
            <a:ext cx="2022969" cy="16544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5" name="Group 174">
            <a:extLst>
              <a:ext uri="{FF2B5EF4-FFF2-40B4-BE49-F238E27FC236}">
                <a16:creationId xmlns:a16="http://schemas.microsoft.com/office/drawing/2014/main" id="{1278446B-CBBE-4BD6-BEB0-17B0072C93AF}"/>
              </a:ext>
            </a:extLst>
          </p:cNvPr>
          <p:cNvGrpSpPr/>
          <p:nvPr/>
        </p:nvGrpSpPr>
        <p:grpSpPr>
          <a:xfrm>
            <a:off x="8409447" y="1957855"/>
            <a:ext cx="1468233" cy="1418995"/>
            <a:chOff x="5459406" y="1647261"/>
            <a:chExt cx="1468233" cy="1418995"/>
          </a:xfrm>
        </p:grpSpPr>
        <p:cxnSp>
          <p:nvCxnSpPr>
            <p:cNvPr id="176" name="Straight Arrow Connector 175">
              <a:extLst>
                <a:ext uri="{FF2B5EF4-FFF2-40B4-BE49-F238E27FC236}">
                  <a16:creationId xmlns:a16="http://schemas.microsoft.com/office/drawing/2014/main" id="{32FF8FAE-2014-4D8D-8A4E-C556AA4F2D77}"/>
                </a:ext>
              </a:extLst>
            </p:cNvPr>
            <p:cNvCxnSpPr>
              <a:cxnSpLocks/>
            </p:cNvCxnSpPr>
            <p:nvPr/>
          </p:nvCxnSpPr>
          <p:spPr>
            <a:xfrm>
              <a:off x="5802093" y="2764468"/>
              <a:ext cx="1115434" cy="0"/>
            </a:xfrm>
            <a:prstGeom prst="straightConnector1">
              <a:avLst/>
            </a:prstGeom>
            <a:noFill/>
            <a:ln w="15875" cap="flat" cmpd="sng" algn="ctr">
              <a:solidFill>
                <a:srgbClr val="000000"/>
              </a:solidFill>
              <a:prstDash val="solid"/>
              <a:tailEnd type="triangle"/>
            </a:ln>
            <a:effectLst/>
          </p:spPr>
        </p:cxnSp>
        <p:sp>
          <p:nvSpPr>
            <p:cNvPr id="177" name="TextBox 176">
              <a:extLst>
                <a:ext uri="{FF2B5EF4-FFF2-40B4-BE49-F238E27FC236}">
                  <a16:creationId xmlns:a16="http://schemas.microsoft.com/office/drawing/2014/main" id="{2DEFB52D-0E0D-4AF5-AC4F-47C0F031DA6E}"/>
                </a:ext>
              </a:extLst>
            </p:cNvPr>
            <p:cNvSpPr txBox="1"/>
            <p:nvPr/>
          </p:nvSpPr>
          <p:spPr>
            <a:xfrm>
              <a:off x="5764382" y="2900944"/>
              <a:ext cx="1163257" cy="165312"/>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00" b="0" i="0" u="none" strike="noStrike" kern="1200" cap="none" spc="0" normalizeH="0" baseline="0" noProof="0">
                  <a:ln>
                    <a:noFill/>
                  </a:ln>
                  <a:solidFill>
                    <a:srgbClr val="2E2E38"/>
                  </a:solidFill>
                  <a:effectLst/>
                  <a:uLnTx/>
                  <a:uFillTx/>
                  <a:latin typeface="Calibri" panose="020F0502020204030204"/>
                  <a:ea typeface="+mn-ea"/>
                  <a:cs typeface="+mn-cs"/>
                </a:rPr>
                <a:t>Effort level</a:t>
              </a:r>
            </a:p>
          </p:txBody>
        </p:sp>
        <p:sp>
          <p:nvSpPr>
            <p:cNvPr id="178" name="TextBox 177">
              <a:extLst>
                <a:ext uri="{FF2B5EF4-FFF2-40B4-BE49-F238E27FC236}">
                  <a16:creationId xmlns:a16="http://schemas.microsoft.com/office/drawing/2014/main" id="{DAF01482-9034-4C94-808E-174205E27C88}"/>
                </a:ext>
              </a:extLst>
            </p:cNvPr>
            <p:cNvSpPr txBox="1"/>
            <p:nvPr/>
          </p:nvSpPr>
          <p:spPr>
            <a:xfrm>
              <a:off x="5868156" y="2767159"/>
              <a:ext cx="151031" cy="192608"/>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81" name="TextBox 180">
              <a:extLst>
                <a:ext uri="{FF2B5EF4-FFF2-40B4-BE49-F238E27FC236}">
                  <a16:creationId xmlns:a16="http://schemas.microsoft.com/office/drawing/2014/main" id="{3AEDCA4D-6CBF-4BEE-BEAA-F0D092B9F424}"/>
                </a:ext>
              </a:extLst>
            </p:cNvPr>
            <p:cNvSpPr txBox="1"/>
            <p:nvPr/>
          </p:nvSpPr>
          <p:spPr>
            <a:xfrm>
              <a:off x="6241007" y="2767159"/>
              <a:ext cx="151031" cy="192608"/>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87" name="TextBox 186">
              <a:extLst>
                <a:ext uri="{FF2B5EF4-FFF2-40B4-BE49-F238E27FC236}">
                  <a16:creationId xmlns:a16="http://schemas.microsoft.com/office/drawing/2014/main" id="{E150E3C4-F73F-4A68-AE13-4116C5259853}"/>
                </a:ext>
              </a:extLst>
            </p:cNvPr>
            <p:cNvSpPr txBox="1"/>
            <p:nvPr/>
          </p:nvSpPr>
          <p:spPr>
            <a:xfrm>
              <a:off x="6613857" y="2767159"/>
              <a:ext cx="151031" cy="192608"/>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rPr>
                <a:t>H</a:t>
              </a:r>
            </a:p>
          </p:txBody>
        </p:sp>
        <p:cxnSp>
          <p:nvCxnSpPr>
            <p:cNvPr id="188" name="Straight Arrow Connector 187">
              <a:extLst>
                <a:ext uri="{FF2B5EF4-FFF2-40B4-BE49-F238E27FC236}">
                  <a16:creationId xmlns:a16="http://schemas.microsoft.com/office/drawing/2014/main" id="{400CDCF4-385E-4345-8545-15F0BB8A7CE3}"/>
                </a:ext>
              </a:extLst>
            </p:cNvPr>
            <p:cNvCxnSpPr>
              <a:cxnSpLocks/>
            </p:cNvCxnSpPr>
            <p:nvPr/>
          </p:nvCxnSpPr>
          <p:spPr>
            <a:xfrm flipH="1" flipV="1">
              <a:off x="5796718" y="1663354"/>
              <a:ext cx="5249" cy="1106790"/>
            </a:xfrm>
            <a:prstGeom prst="straightConnector1">
              <a:avLst/>
            </a:prstGeom>
            <a:noFill/>
            <a:ln w="15875" cap="flat" cmpd="sng" algn="ctr">
              <a:solidFill>
                <a:srgbClr val="000000"/>
              </a:solidFill>
              <a:prstDash val="solid"/>
              <a:tailEnd type="triangle"/>
            </a:ln>
            <a:effectLst/>
          </p:spPr>
        </p:cxnSp>
        <p:sp>
          <p:nvSpPr>
            <p:cNvPr id="189" name="TextBox 188">
              <a:extLst>
                <a:ext uri="{FF2B5EF4-FFF2-40B4-BE49-F238E27FC236}">
                  <a16:creationId xmlns:a16="http://schemas.microsoft.com/office/drawing/2014/main" id="{CA143BB6-B843-48C6-B5BE-DFBBDE77AE43}"/>
                </a:ext>
              </a:extLst>
            </p:cNvPr>
            <p:cNvSpPr txBox="1"/>
            <p:nvPr/>
          </p:nvSpPr>
          <p:spPr>
            <a:xfrm rot="5400000" flipH="1" flipV="1">
              <a:off x="4975858" y="2130809"/>
              <a:ext cx="1132407" cy="165312"/>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000" b="0" i="0" u="none" strike="noStrike" kern="1200" cap="none" spc="0" normalizeH="0" baseline="0" noProof="0">
                  <a:ln>
                    <a:noFill/>
                  </a:ln>
                  <a:solidFill>
                    <a:srgbClr val="2E2E38"/>
                  </a:solidFill>
                  <a:effectLst/>
                  <a:uLnTx/>
                  <a:uFillTx/>
                  <a:latin typeface="Calibri" panose="020F0502020204030204"/>
                  <a:ea typeface="+mn-ea"/>
                  <a:cs typeface="+mn-cs"/>
                </a:rPr>
                <a:t>Impact</a:t>
              </a:r>
              <a:endPar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endParaRPr>
            </a:p>
          </p:txBody>
        </p:sp>
        <p:sp>
          <p:nvSpPr>
            <p:cNvPr id="198" name="TextBox 197">
              <a:extLst>
                <a:ext uri="{FF2B5EF4-FFF2-40B4-BE49-F238E27FC236}">
                  <a16:creationId xmlns:a16="http://schemas.microsoft.com/office/drawing/2014/main" id="{40DD26FE-42EB-4F8D-A6A5-003D3856E4AA}"/>
                </a:ext>
              </a:extLst>
            </p:cNvPr>
            <p:cNvSpPr txBox="1"/>
            <p:nvPr/>
          </p:nvSpPr>
          <p:spPr>
            <a:xfrm>
              <a:off x="5615739" y="2492570"/>
              <a:ext cx="186228" cy="192608"/>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99" name="TextBox 198">
              <a:extLst>
                <a:ext uri="{FF2B5EF4-FFF2-40B4-BE49-F238E27FC236}">
                  <a16:creationId xmlns:a16="http://schemas.microsoft.com/office/drawing/2014/main" id="{EFBCDD8E-2430-47C0-9835-C8B3EAA9AE05}"/>
                </a:ext>
              </a:extLst>
            </p:cNvPr>
            <p:cNvSpPr txBox="1"/>
            <p:nvPr/>
          </p:nvSpPr>
          <p:spPr>
            <a:xfrm>
              <a:off x="5615739" y="2129608"/>
              <a:ext cx="186228" cy="192608"/>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0" name="TextBox 199">
              <a:extLst>
                <a:ext uri="{FF2B5EF4-FFF2-40B4-BE49-F238E27FC236}">
                  <a16:creationId xmlns:a16="http://schemas.microsoft.com/office/drawing/2014/main" id="{993D3C1A-88A4-45D9-82E6-FAD00B963242}"/>
                </a:ext>
              </a:extLst>
            </p:cNvPr>
            <p:cNvSpPr txBox="1"/>
            <p:nvPr/>
          </p:nvSpPr>
          <p:spPr>
            <a:xfrm>
              <a:off x="5615739" y="1766644"/>
              <a:ext cx="186228" cy="192608"/>
            </a:xfrm>
            <a:prstGeom prst="rect">
              <a:avLst/>
            </a:prstGeom>
            <a:noFill/>
          </p:spPr>
          <p:txBody>
            <a:bodyPr wrap="square" lIns="0" tIns="33030" rIns="0" bIns="0" rtlCol="0">
              <a:spAutoFit/>
            </a:bodyPr>
            <a:lstStyle/>
            <a:p>
              <a:pPr marL="0" marR="0" lvl="0" indent="0" algn="ctr" defTabSz="825747" rtl="0" eaLnBrk="1" fontAlgn="auto" latinLnBrk="0" hangingPunct="1">
                <a:lnSpc>
                  <a:spcPct val="85000"/>
                </a:lnSpc>
                <a:spcBef>
                  <a:spcPts val="0"/>
                </a:spcBef>
                <a:spcAft>
                  <a:spcPts val="542"/>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205" name="Rectangle 204">
            <a:extLst>
              <a:ext uri="{FF2B5EF4-FFF2-40B4-BE49-F238E27FC236}">
                <a16:creationId xmlns:a16="http://schemas.microsoft.com/office/drawing/2014/main" id="{AB83D101-845C-45A9-B21C-65F842B330DA}"/>
              </a:ext>
            </a:extLst>
          </p:cNvPr>
          <p:cNvSpPr/>
          <p:nvPr/>
        </p:nvSpPr>
        <p:spPr>
          <a:xfrm>
            <a:off x="8814588" y="1959398"/>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Rectangle 209">
            <a:extLst>
              <a:ext uri="{FF2B5EF4-FFF2-40B4-BE49-F238E27FC236}">
                <a16:creationId xmlns:a16="http://schemas.microsoft.com/office/drawing/2014/main" id="{9F779E62-1EE2-4E9B-8893-30F4F6336D99}"/>
              </a:ext>
            </a:extLst>
          </p:cNvPr>
          <p:cNvSpPr/>
          <p:nvPr/>
        </p:nvSpPr>
        <p:spPr>
          <a:xfrm>
            <a:off x="8814588" y="2730186"/>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Rectangle 210">
            <a:extLst>
              <a:ext uri="{FF2B5EF4-FFF2-40B4-BE49-F238E27FC236}">
                <a16:creationId xmlns:a16="http://schemas.microsoft.com/office/drawing/2014/main" id="{42FC2A44-4D9E-42D3-94C4-3AB14F2E76FE}"/>
              </a:ext>
            </a:extLst>
          </p:cNvPr>
          <p:cNvSpPr/>
          <p:nvPr/>
        </p:nvSpPr>
        <p:spPr>
          <a:xfrm>
            <a:off x="9605213" y="1959398"/>
            <a:ext cx="287224" cy="279642"/>
          </a:xfrm>
          <a:prstGeom prst="rect">
            <a:avLst/>
          </a:prstGeom>
          <a:solidFill>
            <a:srgbClr val="2DB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Rectangle 211">
            <a:extLst>
              <a:ext uri="{FF2B5EF4-FFF2-40B4-BE49-F238E27FC236}">
                <a16:creationId xmlns:a16="http://schemas.microsoft.com/office/drawing/2014/main" id="{F40D1A67-73A3-465F-B820-773CBCDDF6D3}"/>
              </a:ext>
            </a:extLst>
          </p:cNvPr>
          <p:cNvSpPr/>
          <p:nvPr/>
        </p:nvSpPr>
        <p:spPr>
          <a:xfrm>
            <a:off x="8814588" y="2344792"/>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31A9FADF-EE1F-41F5-B9B9-4EA1C6B6322F}"/>
              </a:ext>
            </a:extLst>
          </p:cNvPr>
          <p:cNvSpPr/>
          <p:nvPr/>
        </p:nvSpPr>
        <p:spPr>
          <a:xfrm>
            <a:off x="9605213" y="2730186"/>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Rectangle 213">
            <a:extLst>
              <a:ext uri="{FF2B5EF4-FFF2-40B4-BE49-F238E27FC236}">
                <a16:creationId xmlns:a16="http://schemas.microsoft.com/office/drawing/2014/main" id="{F5D82E79-4CCA-4EB0-9F61-5519B5BDD262}"/>
              </a:ext>
            </a:extLst>
          </p:cNvPr>
          <p:cNvSpPr/>
          <p:nvPr/>
        </p:nvSpPr>
        <p:spPr>
          <a:xfrm>
            <a:off x="9605213" y="2344792"/>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Rectangle 214">
            <a:extLst>
              <a:ext uri="{FF2B5EF4-FFF2-40B4-BE49-F238E27FC236}">
                <a16:creationId xmlns:a16="http://schemas.microsoft.com/office/drawing/2014/main" id="{A5F2A9AB-D8EA-4223-AB6C-620C64D84E20}"/>
              </a:ext>
            </a:extLst>
          </p:cNvPr>
          <p:cNvSpPr/>
          <p:nvPr/>
        </p:nvSpPr>
        <p:spPr>
          <a:xfrm>
            <a:off x="9209900" y="1959398"/>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9" name="Rectangle 218">
            <a:extLst>
              <a:ext uri="{FF2B5EF4-FFF2-40B4-BE49-F238E27FC236}">
                <a16:creationId xmlns:a16="http://schemas.microsoft.com/office/drawing/2014/main" id="{6A1AD40D-30CE-498F-9403-A2BAEC346B69}"/>
              </a:ext>
            </a:extLst>
          </p:cNvPr>
          <p:cNvSpPr/>
          <p:nvPr/>
        </p:nvSpPr>
        <p:spPr>
          <a:xfrm>
            <a:off x="9209900" y="2344792"/>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0" name="Rectangle 219">
            <a:extLst>
              <a:ext uri="{FF2B5EF4-FFF2-40B4-BE49-F238E27FC236}">
                <a16:creationId xmlns:a16="http://schemas.microsoft.com/office/drawing/2014/main" id="{7EC0EDB3-A310-4D67-AAD1-A6B2FACC19EC}"/>
              </a:ext>
            </a:extLst>
          </p:cNvPr>
          <p:cNvSpPr/>
          <p:nvPr/>
        </p:nvSpPr>
        <p:spPr>
          <a:xfrm>
            <a:off x="9209900" y="2730186"/>
            <a:ext cx="287224" cy="279642"/>
          </a:xfrm>
          <a:prstGeom prst="rect">
            <a:avLst/>
          </a:prstGeom>
          <a:solidFill>
            <a:srgbClr val="001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1" name="TextBox 220">
            <a:extLst>
              <a:ext uri="{FF2B5EF4-FFF2-40B4-BE49-F238E27FC236}">
                <a16:creationId xmlns:a16="http://schemas.microsoft.com/office/drawing/2014/main" id="{52AC8998-F6DF-4778-8A2C-605979BBE310}"/>
              </a:ext>
            </a:extLst>
          </p:cNvPr>
          <p:cNvSpPr txBox="1"/>
          <p:nvPr/>
        </p:nvSpPr>
        <p:spPr>
          <a:xfrm>
            <a:off x="8323312" y="1634806"/>
            <a:ext cx="1908000" cy="184666"/>
          </a:xfrm>
          <a:prstGeom prst="rect">
            <a:avLst/>
          </a:prstGeom>
          <a:solidFill>
            <a:schemeClr val="bg1"/>
          </a:solidFill>
          <a:ln w="12700">
            <a:noFill/>
          </a:ln>
        </p:spPr>
        <p:txBody>
          <a:bodyPr wrap="square" lIns="36000" tIns="0" rIns="3600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9B4"/>
                </a:solidFill>
                <a:effectLst/>
                <a:uLnTx/>
                <a:uFillTx/>
                <a:latin typeface="Calibri" panose="020F0502020204030204"/>
                <a:ea typeface="+mn-ea"/>
                <a:cs typeface="+mn-cs"/>
              </a:rPr>
              <a:t>Effort and impact estimation</a:t>
            </a:r>
          </a:p>
        </p:txBody>
      </p:sp>
      <p:grpSp>
        <p:nvGrpSpPr>
          <p:cNvPr id="222" name="Group 221">
            <a:extLst>
              <a:ext uri="{FF2B5EF4-FFF2-40B4-BE49-F238E27FC236}">
                <a16:creationId xmlns:a16="http://schemas.microsoft.com/office/drawing/2014/main" id="{38A6EC66-312E-440A-9CFF-4E1730C28FC9}"/>
              </a:ext>
            </a:extLst>
          </p:cNvPr>
          <p:cNvGrpSpPr/>
          <p:nvPr/>
        </p:nvGrpSpPr>
        <p:grpSpPr>
          <a:xfrm>
            <a:off x="10396797" y="1634806"/>
            <a:ext cx="1229884" cy="1778093"/>
            <a:chOff x="10396797" y="1634806"/>
            <a:chExt cx="1229884" cy="1778093"/>
          </a:xfrm>
        </p:grpSpPr>
        <p:sp>
          <p:nvSpPr>
            <p:cNvPr id="223" name="Rectangle 222">
              <a:extLst>
                <a:ext uri="{FF2B5EF4-FFF2-40B4-BE49-F238E27FC236}">
                  <a16:creationId xmlns:a16="http://schemas.microsoft.com/office/drawing/2014/main" id="{D8E54147-2DEA-482C-8FD3-929DBA36F72B}"/>
                </a:ext>
              </a:extLst>
            </p:cNvPr>
            <p:cNvSpPr/>
            <p:nvPr/>
          </p:nvSpPr>
          <p:spPr>
            <a:xfrm>
              <a:off x="10396797" y="1758412"/>
              <a:ext cx="1218940" cy="1654487"/>
            </a:xfrm>
            <a:prstGeom prst="rect">
              <a:avLst/>
            </a:prstGeom>
            <a:solidFill>
              <a:srgbClr val="F2F2F2"/>
            </a:solidFill>
            <a:ln w="127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EYInterstate Light"/>
                <a:ea typeface="+mn-ea"/>
                <a:cs typeface="+mn-cs"/>
              </a:endParaRPr>
            </a:p>
          </p:txBody>
        </p:sp>
        <p:grpSp>
          <p:nvGrpSpPr>
            <p:cNvPr id="224" name="Group 223">
              <a:extLst>
                <a:ext uri="{FF2B5EF4-FFF2-40B4-BE49-F238E27FC236}">
                  <a16:creationId xmlns:a16="http://schemas.microsoft.com/office/drawing/2014/main" id="{4B835F96-2C91-46F7-9564-45A018A83064}"/>
                </a:ext>
              </a:extLst>
            </p:cNvPr>
            <p:cNvGrpSpPr/>
            <p:nvPr/>
          </p:nvGrpSpPr>
          <p:grpSpPr>
            <a:xfrm>
              <a:off x="10456001" y="1634806"/>
              <a:ext cx="1170680" cy="1627593"/>
              <a:chOff x="10456001" y="1634806"/>
              <a:chExt cx="1170680" cy="1627593"/>
            </a:xfrm>
          </p:grpSpPr>
          <p:grpSp>
            <p:nvGrpSpPr>
              <p:cNvPr id="225" name="Group 224">
                <a:extLst>
                  <a:ext uri="{FF2B5EF4-FFF2-40B4-BE49-F238E27FC236}">
                    <a16:creationId xmlns:a16="http://schemas.microsoft.com/office/drawing/2014/main" id="{75B2CBC0-5126-4ECC-B7F0-C8041398D9BD}"/>
                  </a:ext>
                </a:extLst>
              </p:cNvPr>
              <p:cNvGrpSpPr/>
              <p:nvPr/>
            </p:nvGrpSpPr>
            <p:grpSpPr>
              <a:xfrm>
                <a:off x="10481103" y="1975408"/>
                <a:ext cx="1145578" cy="206760"/>
                <a:chOff x="10048096" y="2093915"/>
                <a:chExt cx="1145578" cy="206760"/>
              </a:xfrm>
            </p:grpSpPr>
            <p:grpSp>
              <p:nvGrpSpPr>
                <p:cNvPr id="240" name="Group 239">
                  <a:extLst>
                    <a:ext uri="{FF2B5EF4-FFF2-40B4-BE49-F238E27FC236}">
                      <a16:creationId xmlns:a16="http://schemas.microsoft.com/office/drawing/2014/main" id="{59689A25-D576-453F-B904-F917F6B2BD12}"/>
                    </a:ext>
                  </a:extLst>
                </p:cNvPr>
                <p:cNvGrpSpPr/>
                <p:nvPr/>
              </p:nvGrpSpPr>
              <p:grpSpPr>
                <a:xfrm>
                  <a:off x="10048096" y="2093915"/>
                  <a:ext cx="242015" cy="206760"/>
                  <a:chOff x="10048096" y="2093915"/>
                  <a:chExt cx="242015" cy="206760"/>
                </a:xfrm>
              </p:grpSpPr>
              <p:sp>
                <p:nvSpPr>
                  <p:cNvPr id="242" name="Rectangle 241">
                    <a:extLst>
                      <a:ext uri="{FF2B5EF4-FFF2-40B4-BE49-F238E27FC236}">
                        <a16:creationId xmlns:a16="http://schemas.microsoft.com/office/drawing/2014/main" id="{92A6C8B9-ACAA-4D86-9873-5D1CC8131E6A}"/>
                      </a:ext>
                    </a:extLst>
                  </p:cNvPr>
                  <p:cNvSpPr/>
                  <p:nvPr/>
                </p:nvSpPr>
                <p:spPr>
                  <a:xfrm>
                    <a:off x="10048096" y="2096125"/>
                    <a:ext cx="242015" cy="202340"/>
                  </a:xfrm>
                  <a:prstGeom prst="rect">
                    <a:avLst/>
                  </a:prstGeom>
                  <a:noFill/>
                  <a:ln w="9525" cap="flat" cmpd="sng" algn="ctr">
                    <a:solidFill>
                      <a:schemeClr val="tx1"/>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EYInterstate Light"/>
                      <a:ea typeface="+mn-ea"/>
                      <a:cs typeface="+mn-cs"/>
                    </a:endParaRPr>
                  </a:p>
                </p:txBody>
              </p:sp>
              <p:pic>
                <p:nvPicPr>
                  <p:cNvPr id="243" name="Graphic 242" descr="Checkmark with solid fill">
                    <a:extLst>
                      <a:ext uri="{FF2B5EF4-FFF2-40B4-BE49-F238E27FC236}">
                        <a16:creationId xmlns:a16="http://schemas.microsoft.com/office/drawing/2014/main" id="{094C9B4B-39B1-4E2B-B03A-FE20C80804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75893" y="2093915"/>
                    <a:ext cx="186420" cy="206760"/>
                  </a:xfrm>
                  <a:prstGeom prst="rect">
                    <a:avLst/>
                  </a:prstGeom>
                </p:spPr>
              </p:pic>
            </p:grpSp>
            <p:sp>
              <p:nvSpPr>
                <p:cNvPr id="241" name="Rectangle 240">
                  <a:extLst>
                    <a:ext uri="{FF2B5EF4-FFF2-40B4-BE49-F238E27FC236}">
                      <a16:creationId xmlns:a16="http://schemas.microsoft.com/office/drawing/2014/main" id="{56C5720F-A7DD-429E-ABF1-B815AD8DFA67}"/>
                    </a:ext>
                  </a:extLst>
                </p:cNvPr>
                <p:cNvSpPr/>
                <p:nvPr/>
              </p:nvSpPr>
              <p:spPr>
                <a:xfrm>
                  <a:off x="10293869" y="2096125"/>
                  <a:ext cx="899805" cy="202340"/>
                </a:xfrm>
                <a:prstGeom prst="rect">
                  <a:avLst/>
                </a:prstGeom>
                <a:no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Capacity</a:t>
                  </a:r>
                  <a:endParaRPr kumimoji="0" lang="en-US" sz="1200" b="0" i="0" u="none" strike="noStrike" kern="0" cap="none" spc="0" normalizeH="0" baseline="0" noProof="0">
                    <a:ln>
                      <a:noFill/>
                    </a:ln>
                    <a:solidFill>
                      <a:srgbClr val="000000"/>
                    </a:solidFill>
                    <a:effectLst/>
                    <a:uLnTx/>
                    <a:uFillTx/>
                    <a:latin typeface="EYInterstate Light"/>
                    <a:ea typeface="+mn-ea"/>
                    <a:cs typeface="+mn-cs"/>
                  </a:endParaRPr>
                </a:p>
              </p:txBody>
            </p:sp>
          </p:grpSp>
          <p:grpSp>
            <p:nvGrpSpPr>
              <p:cNvPr id="226" name="Group 225">
                <a:extLst>
                  <a:ext uri="{FF2B5EF4-FFF2-40B4-BE49-F238E27FC236}">
                    <a16:creationId xmlns:a16="http://schemas.microsoft.com/office/drawing/2014/main" id="{CA22E4CB-E0DE-42EA-A640-A6C65A7F6F83}"/>
                  </a:ext>
                </a:extLst>
              </p:cNvPr>
              <p:cNvGrpSpPr/>
              <p:nvPr/>
            </p:nvGrpSpPr>
            <p:grpSpPr>
              <a:xfrm>
                <a:off x="10481103" y="2335485"/>
                <a:ext cx="1141161" cy="568899"/>
                <a:chOff x="10048096" y="2337670"/>
                <a:chExt cx="1141161" cy="568899"/>
              </a:xfrm>
            </p:grpSpPr>
            <p:grpSp>
              <p:nvGrpSpPr>
                <p:cNvPr id="236" name="Group 235">
                  <a:extLst>
                    <a:ext uri="{FF2B5EF4-FFF2-40B4-BE49-F238E27FC236}">
                      <a16:creationId xmlns:a16="http://schemas.microsoft.com/office/drawing/2014/main" id="{ECE48D35-BED3-46BF-805E-93099967350A}"/>
                    </a:ext>
                  </a:extLst>
                </p:cNvPr>
                <p:cNvGrpSpPr/>
                <p:nvPr/>
              </p:nvGrpSpPr>
              <p:grpSpPr>
                <a:xfrm>
                  <a:off x="10048096" y="2337670"/>
                  <a:ext cx="242015" cy="568899"/>
                  <a:chOff x="10048096" y="2093915"/>
                  <a:chExt cx="242015" cy="568899"/>
                </a:xfrm>
              </p:grpSpPr>
              <p:sp>
                <p:nvSpPr>
                  <p:cNvPr id="238" name="Rectangle 237">
                    <a:extLst>
                      <a:ext uri="{FF2B5EF4-FFF2-40B4-BE49-F238E27FC236}">
                        <a16:creationId xmlns:a16="http://schemas.microsoft.com/office/drawing/2014/main" id="{648579F2-70EE-4C72-8181-BE95DBEC3D73}"/>
                      </a:ext>
                    </a:extLst>
                  </p:cNvPr>
                  <p:cNvSpPr/>
                  <p:nvPr/>
                </p:nvSpPr>
                <p:spPr>
                  <a:xfrm>
                    <a:off x="10048096" y="2096125"/>
                    <a:ext cx="242015" cy="202340"/>
                  </a:xfrm>
                  <a:prstGeom prst="rect">
                    <a:avLst/>
                  </a:prstGeom>
                  <a:noFill/>
                  <a:ln w="9525" cap="flat" cmpd="sng" algn="ctr">
                    <a:solidFill>
                      <a:schemeClr val="tx1"/>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EYInterstate Light"/>
                      <a:ea typeface="+mn-ea"/>
                      <a:cs typeface="+mn-cs"/>
                    </a:endParaRPr>
                  </a:p>
                </p:txBody>
              </p:sp>
              <p:pic>
                <p:nvPicPr>
                  <p:cNvPr id="239" name="Graphic 238" descr="Checkmark with solid fill">
                    <a:extLst>
                      <a:ext uri="{FF2B5EF4-FFF2-40B4-BE49-F238E27FC236}">
                        <a16:creationId xmlns:a16="http://schemas.microsoft.com/office/drawing/2014/main" id="{1C5A5EB8-489D-4C4A-8C22-21889B5992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75893" y="2093915"/>
                    <a:ext cx="186420" cy="206760"/>
                  </a:xfrm>
                  <a:prstGeom prst="rect">
                    <a:avLst/>
                  </a:prstGeom>
                </p:spPr>
              </p:pic>
              <p:pic>
                <p:nvPicPr>
                  <p:cNvPr id="244" name="Graphic 243" descr="Checkmark with solid fill">
                    <a:extLst>
                      <a:ext uri="{FF2B5EF4-FFF2-40B4-BE49-F238E27FC236}">
                        <a16:creationId xmlns:a16="http://schemas.microsoft.com/office/drawing/2014/main" id="{80400417-CF23-4CBD-A0F9-AC0FED7523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75893" y="2456054"/>
                    <a:ext cx="186420" cy="206760"/>
                  </a:xfrm>
                  <a:prstGeom prst="rect">
                    <a:avLst/>
                  </a:prstGeom>
                </p:spPr>
              </p:pic>
            </p:grpSp>
            <p:sp>
              <p:nvSpPr>
                <p:cNvPr id="237" name="Rectangle 236">
                  <a:extLst>
                    <a:ext uri="{FF2B5EF4-FFF2-40B4-BE49-F238E27FC236}">
                      <a16:creationId xmlns:a16="http://schemas.microsoft.com/office/drawing/2014/main" id="{5B7FE5AF-1CDF-4450-98D1-A5AD77DDD584}"/>
                    </a:ext>
                  </a:extLst>
                </p:cNvPr>
                <p:cNvSpPr/>
                <p:nvPr/>
              </p:nvSpPr>
              <p:spPr>
                <a:xfrm>
                  <a:off x="10289452" y="2339880"/>
                  <a:ext cx="899805" cy="202340"/>
                </a:xfrm>
                <a:prstGeom prst="rect">
                  <a:avLst/>
                </a:prstGeom>
                <a:no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Capability</a:t>
                  </a:r>
                  <a:endParaRPr kumimoji="0" lang="en-US" sz="1000" b="0" i="0" u="none" strike="noStrike" kern="0" cap="none" spc="0" normalizeH="0" baseline="0" noProof="0">
                    <a:ln>
                      <a:noFill/>
                    </a:ln>
                    <a:solidFill>
                      <a:srgbClr val="000000"/>
                    </a:solidFill>
                    <a:effectLst/>
                    <a:uLnTx/>
                    <a:uFillTx/>
                    <a:latin typeface="EYInterstate Light"/>
                    <a:ea typeface="+mn-ea"/>
                    <a:cs typeface="+mn-cs"/>
                  </a:endParaRPr>
                </a:p>
              </p:txBody>
            </p:sp>
          </p:grpSp>
          <p:grpSp>
            <p:nvGrpSpPr>
              <p:cNvPr id="227" name="Group 226">
                <a:extLst>
                  <a:ext uri="{FF2B5EF4-FFF2-40B4-BE49-F238E27FC236}">
                    <a16:creationId xmlns:a16="http://schemas.microsoft.com/office/drawing/2014/main" id="{0958253A-15CA-4015-B203-B4E09D575E32}"/>
                  </a:ext>
                </a:extLst>
              </p:cNvPr>
              <p:cNvGrpSpPr/>
              <p:nvPr/>
            </p:nvGrpSpPr>
            <p:grpSpPr>
              <a:xfrm>
                <a:off x="10481103" y="2697772"/>
                <a:ext cx="1141161" cy="202340"/>
                <a:chOff x="10048096" y="2583635"/>
                <a:chExt cx="1141161" cy="202340"/>
              </a:xfrm>
            </p:grpSpPr>
            <p:sp>
              <p:nvSpPr>
                <p:cNvPr id="234" name="Rectangle 233">
                  <a:extLst>
                    <a:ext uri="{FF2B5EF4-FFF2-40B4-BE49-F238E27FC236}">
                      <a16:creationId xmlns:a16="http://schemas.microsoft.com/office/drawing/2014/main" id="{331BF51C-5A11-443A-9985-7FEFFAE4EF20}"/>
                    </a:ext>
                  </a:extLst>
                </p:cNvPr>
                <p:cNvSpPr/>
                <p:nvPr/>
              </p:nvSpPr>
              <p:spPr>
                <a:xfrm>
                  <a:off x="10048096" y="2583635"/>
                  <a:ext cx="242015" cy="202340"/>
                </a:xfrm>
                <a:prstGeom prst="rect">
                  <a:avLst/>
                </a:prstGeom>
                <a:noFill/>
                <a:ln w="9525" cap="flat" cmpd="sng" algn="ctr">
                  <a:solidFill>
                    <a:schemeClr val="tx1"/>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EYInterstate Light"/>
                    <a:ea typeface="+mn-ea"/>
                    <a:cs typeface="+mn-cs"/>
                  </a:endParaRPr>
                </a:p>
              </p:txBody>
            </p:sp>
            <p:sp>
              <p:nvSpPr>
                <p:cNvPr id="235" name="Rectangle 234">
                  <a:extLst>
                    <a:ext uri="{FF2B5EF4-FFF2-40B4-BE49-F238E27FC236}">
                      <a16:creationId xmlns:a16="http://schemas.microsoft.com/office/drawing/2014/main" id="{F1EDB365-63EB-4511-9E7D-603BEA1FE00B}"/>
                    </a:ext>
                  </a:extLst>
                </p:cNvPr>
                <p:cNvSpPr/>
                <p:nvPr/>
              </p:nvSpPr>
              <p:spPr>
                <a:xfrm>
                  <a:off x="10293869" y="2583635"/>
                  <a:ext cx="895388" cy="202340"/>
                </a:xfrm>
                <a:prstGeom prst="rect">
                  <a:avLst/>
                </a:prstGeom>
                <a:no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Mandate</a:t>
                  </a:r>
                  <a:endParaRPr kumimoji="0" lang="en-US" sz="1000" b="0" i="0" u="none" strike="noStrike" kern="0" cap="none" spc="0" normalizeH="0" baseline="0" noProof="0">
                    <a:ln>
                      <a:noFill/>
                    </a:ln>
                    <a:solidFill>
                      <a:srgbClr val="000000"/>
                    </a:solidFill>
                    <a:effectLst/>
                    <a:uLnTx/>
                    <a:uFillTx/>
                    <a:latin typeface="EYInterstate Light"/>
                    <a:ea typeface="+mn-ea"/>
                    <a:cs typeface="+mn-cs"/>
                  </a:endParaRPr>
                </a:p>
              </p:txBody>
            </p:sp>
          </p:grpSp>
          <p:grpSp>
            <p:nvGrpSpPr>
              <p:cNvPr id="228" name="Group 227">
                <a:extLst>
                  <a:ext uri="{FF2B5EF4-FFF2-40B4-BE49-F238E27FC236}">
                    <a16:creationId xmlns:a16="http://schemas.microsoft.com/office/drawing/2014/main" id="{2043CB9A-8120-47AC-A168-4020323E7E3B}"/>
                  </a:ext>
                </a:extLst>
              </p:cNvPr>
              <p:cNvGrpSpPr/>
              <p:nvPr/>
            </p:nvGrpSpPr>
            <p:grpSpPr>
              <a:xfrm>
                <a:off x="10481103" y="3055639"/>
                <a:ext cx="1141161" cy="206760"/>
                <a:chOff x="10048096" y="2825179"/>
                <a:chExt cx="1141161" cy="206760"/>
              </a:xfrm>
            </p:grpSpPr>
            <p:grpSp>
              <p:nvGrpSpPr>
                <p:cNvPr id="230" name="Group 229">
                  <a:extLst>
                    <a:ext uri="{FF2B5EF4-FFF2-40B4-BE49-F238E27FC236}">
                      <a16:creationId xmlns:a16="http://schemas.microsoft.com/office/drawing/2014/main" id="{F2EC34A2-FBA8-4151-BC15-A3889135950A}"/>
                    </a:ext>
                  </a:extLst>
                </p:cNvPr>
                <p:cNvGrpSpPr/>
                <p:nvPr/>
              </p:nvGrpSpPr>
              <p:grpSpPr>
                <a:xfrm>
                  <a:off x="10048096" y="2825179"/>
                  <a:ext cx="242015" cy="206760"/>
                  <a:chOff x="10048096" y="2093915"/>
                  <a:chExt cx="242015" cy="206760"/>
                </a:xfrm>
              </p:grpSpPr>
              <p:sp>
                <p:nvSpPr>
                  <p:cNvPr id="232" name="Rectangle 231">
                    <a:extLst>
                      <a:ext uri="{FF2B5EF4-FFF2-40B4-BE49-F238E27FC236}">
                        <a16:creationId xmlns:a16="http://schemas.microsoft.com/office/drawing/2014/main" id="{9930C0FF-0209-4E25-8F10-6F5B150036B7}"/>
                      </a:ext>
                    </a:extLst>
                  </p:cNvPr>
                  <p:cNvSpPr/>
                  <p:nvPr/>
                </p:nvSpPr>
                <p:spPr>
                  <a:xfrm>
                    <a:off x="10048096" y="2096125"/>
                    <a:ext cx="242015" cy="202340"/>
                  </a:xfrm>
                  <a:prstGeom prst="rect">
                    <a:avLst/>
                  </a:prstGeom>
                  <a:noFill/>
                  <a:ln w="9525" cap="flat" cmpd="sng" algn="ctr">
                    <a:solidFill>
                      <a:schemeClr val="tx1"/>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EYInterstate Light"/>
                      <a:ea typeface="+mn-ea"/>
                      <a:cs typeface="+mn-cs"/>
                    </a:endParaRPr>
                  </a:p>
                </p:txBody>
              </p:sp>
              <p:pic>
                <p:nvPicPr>
                  <p:cNvPr id="233" name="Graphic 232" descr="Checkmark with solid fill">
                    <a:extLst>
                      <a:ext uri="{FF2B5EF4-FFF2-40B4-BE49-F238E27FC236}">
                        <a16:creationId xmlns:a16="http://schemas.microsoft.com/office/drawing/2014/main" id="{123B6AFD-D692-437F-B2F0-E487D6118F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75893" y="2093915"/>
                    <a:ext cx="186420" cy="206760"/>
                  </a:xfrm>
                  <a:prstGeom prst="rect">
                    <a:avLst/>
                  </a:prstGeom>
                </p:spPr>
              </p:pic>
            </p:grpSp>
            <p:sp>
              <p:nvSpPr>
                <p:cNvPr id="231" name="Rectangle 230">
                  <a:extLst>
                    <a:ext uri="{FF2B5EF4-FFF2-40B4-BE49-F238E27FC236}">
                      <a16:creationId xmlns:a16="http://schemas.microsoft.com/office/drawing/2014/main" id="{66C01C01-6691-466C-A714-3C7676B58E96}"/>
                    </a:ext>
                  </a:extLst>
                </p:cNvPr>
                <p:cNvSpPr/>
                <p:nvPr/>
              </p:nvSpPr>
              <p:spPr>
                <a:xfrm>
                  <a:off x="10287445" y="2827389"/>
                  <a:ext cx="901812" cy="202340"/>
                </a:xfrm>
                <a:prstGeom prst="rect">
                  <a:avLst/>
                </a:prstGeom>
                <a:noFill/>
                <a:ln w="9525" cap="flat" cmpd="sng" algn="ctr">
                  <a:noFill/>
                  <a:prstDash val="solid"/>
                </a:ln>
                <a:effectLst/>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Budget</a:t>
                  </a:r>
                  <a:endParaRPr kumimoji="0" lang="en-US" sz="1000" b="0" i="0" u="none" strike="noStrike" kern="0" cap="none" spc="0" normalizeH="0" baseline="0" noProof="0">
                    <a:ln>
                      <a:noFill/>
                    </a:ln>
                    <a:solidFill>
                      <a:srgbClr val="000000"/>
                    </a:solidFill>
                    <a:effectLst/>
                    <a:uLnTx/>
                    <a:uFillTx/>
                    <a:latin typeface="EYInterstate Light"/>
                    <a:ea typeface="+mn-ea"/>
                    <a:cs typeface="+mn-cs"/>
                  </a:endParaRPr>
                </a:p>
              </p:txBody>
            </p:sp>
          </p:grpSp>
          <p:sp>
            <p:nvSpPr>
              <p:cNvPr id="229" name="TextBox 228">
                <a:extLst>
                  <a:ext uri="{FF2B5EF4-FFF2-40B4-BE49-F238E27FC236}">
                    <a16:creationId xmlns:a16="http://schemas.microsoft.com/office/drawing/2014/main" id="{AC44BEC5-8328-4912-A8CC-9250DC3AA6E0}"/>
                  </a:ext>
                </a:extLst>
              </p:cNvPr>
              <p:cNvSpPr txBox="1"/>
              <p:nvPr/>
            </p:nvSpPr>
            <p:spPr>
              <a:xfrm>
                <a:off x="10456001" y="1634806"/>
                <a:ext cx="1100533" cy="184666"/>
              </a:xfrm>
              <a:prstGeom prst="rect">
                <a:avLst/>
              </a:prstGeom>
              <a:solidFill>
                <a:schemeClr val="bg1"/>
              </a:solidFill>
              <a:ln w="12700">
                <a:noFill/>
              </a:ln>
            </p:spPr>
            <p:txBody>
              <a:bodyPr wrap="square" lIns="36000" tIns="0" rIns="36000" bIns="0" anchor="ctr">
                <a:spAutoFit/>
              </a:bodyPr>
              <a:lstStyle>
                <a:defPPr>
                  <a:defRPr lang="en-US"/>
                </a:defPPr>
                <a:lvl1pPr algn="ctr">
                  <a:defRPr sz="1200" b="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69B4"/>
                    </a:solidFill>
                    <a:effectLst/>
                    <a:uLnTx/>
                    <a:uFillTx/>
                    <a:latin typeface="Calibri" panose="020F0502020204030204"/>
                    <a:ea typeface="+mn-ea"/>
                    <a:cs typeface="+mn-cs"/>
                  </a:rPr>
                  <a:t>Success Factors</a:t>
                </a:r>
              </a:p>
            </p:txBody>
          </p:sp>
        </p:grpSp>
      </p:grpSp>
    </p:spTree>
    <p:extLst>
      <p:ext uri="{BB962C8B-B14F-4D97-AF65-F5344CB8AC3E}">
        <p14:creationId xmlns:p14="http://schemas.microsoft.com/office/powerpoint/2010/main" val="2039508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118C27-AA21-4B56-B524-77BF98DFC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118C27-AA21-4B56-B524-77BF98DFCC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B4748C9A-4CAF-4477-90A6-2C9284890528}"/>
              </a:ext>
            </a:extLst>
          </p:cNvPr>
          <p:cNvSpPr/>
          <p:nvPr/>
        </p:nvSpPr>
        <p:spPr bwMode="auto">
          <a:xfrm>
            <a:off x="576000" y="1934063"/>
            <a:ext cx="3600000" cy="720000"/>
          </a:xfrm>
          <a:prstGeom prst="rect">
            <a:avLst/>
          </a:prstGeom>
          <a:solidFill>
            <a:schemeClr val="bg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9B4"/>
                </a:solidFill>
                <a:effectLst/>
                <a:uLnTx/>
                <a:uFillTx/>
                <a:latin typeface="Calibri" panose="020F0502020204030204"/>
                <a:ea typeface="+mn-ea"/>
                <a:cs typeface="+mn-cs"/>
              </a:rPr>
              <a:t>Initiate Guiding Coalition</a:t>
            </a:r>
            <a:endParaRPr kumimoji="0" lang="en-US" sz="1200" b="1" i="0" u="none" strike="noStrike" kern="0" cap="none" spc="0" normalizeH="0" baseline="0" noProof="0">
              <a:ln>
                <a:noFill/>
              </a:ln>
              <a:solidFill>
                <a:srgbClr val="0069B4"/>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0F887DD8-F648-4496-937E-C123D51FF9DD}"/>
              </a:ext>
            </a:extLst>
          </p:cNvPr>
          <p:cNvSpPr/>
          <p:nvPr/>
        </p:nvSpPr>
        <p:spPr bwMode="auto">
          <a:xfrm>
            <a:off x="4296000" y="1934063"/>
            <a:ext cx="3600000" cy="720000"/>
          </a:xfrm>
          <a:prstGeom prst="rect">
            <a:avLst/>
          </a:prstGeom>
          <a:solidFill>
            <a:schemeClr val="bg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9B4"/>
                </a:solidFill>
                <a:effectLst/>
                <a:uLnTx/>
                <a:uFillTx/>
                <a:latin typeface="Calibri" panose="020F0502020204030204"/>
                <a:ea typeface="+mn-ea"/>
                <a:cs typeface="+mn-cs"/>
              </a:rPr>
              <a:t>Assign DG roles</a:t>
            </a:r>
            <a:endParaRPr kumimoji="0" lang="en-US" sz="1200" b="1" i="0" u="none" strike="noStrike" kern="0" cap="none" spc="0" normalizeH="0" baseline="0" noProof="0">
              <a:ln>
                <a:noFill/>
              </a:ln>
              <a:solidFill>
                <a:srgbClr val="0069B4"/>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BA6B7FF5-7702-48F0-A68C-628BEA4E1096}"/>
              </a:ext>
            </a:extLst>
          </p:cNvPr>
          <p:cNvSpPr/>
          <p:nvPr/>
        </p:nvSpPr>
        <p:spPr bwMode="auto">
          <a:xfrm>
            <a:off x="8016000" y="1934063"/>
            <a:ext cx="3600000" cy="720000"/>
          </a:xfrm>
          <a:prstGeom prst="rect">
            <a:avLst/>
          </a:prstGeom>
          <a:solidFill>
            <a:schemeClr val="bg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9B4"/>
                </a:solidFill>
                <a:effectLst/>
                <a:uLnTx/>
                <a:uFillTx/>
                <a:latin typeface="Calibri" panose="020F0502020204030204"/>
                <a:ea typeface="+mn-ea"/>
                <a:cs typeface="+mn-cs"/>
              </a:rPr>
              <a:t>DG councils/forums determined</a:t>
            </a:r>
            <a:endParaRPr kumimoji="0" lang="en-US" sz="1200" b="1" i="0" u="none" strike="noStrike" kern="0" cap="none" spc="0" normalizeH="0" baseline="0" noProof="0">
              <a:ln>
                <a:noFill/>
              </a:ln>
              <a:solidFill>
                <a:srgbClr val="0069B4"/>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0C21C7E6-BBB0-4BF1-8383-A5A408FF6C1B}"/>
              </a:ext>
            </a:extLst>
          </p:cNvPr>
          <p:cNvSpPr/>
          <p:nvPr/>
        </p:nvSpPr>
        <p:spPr bwMode="auto">
          <a:xfrm>
            <a:off x="576000" y="1513645"/>
            <a:ext cx="3600000" cy="36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Key Activity #1</a:t>
            </a:r>
          </a:p>
        </p:txBody>
      </p:sp>
      <p:sp>
        <p:nvSpPr>
          <p:cNvPr id="80" name="Rectangle 79">
            <a:extLst>
              <a:ext uri="{FF2B5EF4-FFF2-40B4-BE49-F238E27FC236}">
                <a16:creationId xmlns:a16="http://schemas.microsoft.com/office/drawing/2014/main" id="{074565B2-5D65-4DA9-8965-FE77660B4D1E}"/>
              </a:ext>
            </a:extLst>
          </p:cNvPr>
          <p:cNvSpPr/>
          <p:nvPr/>
        </p:nvSpPr>
        <p:spPr bwMode="auto">
          <a:xfrm>
            <a:off x="4296000" y="1513645"/>
            <a:ext cx="3600000" cy="36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Key Activity #2</a:t>
            </a:r>
          </a:p>
        </p:txBody>
      </p:sp>
      <p:sp>
        <p:nvSpPr>
          <p:cNvPr id="81" name="Rectangle 80">
            <a:extLst>
              <a:ext uri="{FF2B5EF4-FFF2-40B4-BE49-F238E27FC236}">
                <a16:creationId xmlns:a16="http://schemas.microsoft.com/office/drawing/2014/main" id="{3805A0AD-FB2C-4DD3-B2D4-6D6EC1780CAE}"/>
              </a:ext>
            </a:extLst>
          </p:cNvPr>
          <p:cNvSpPr/>
          <p:nvPr/>
        </p:nvSpPr>
        <p:spPr bwMode="auto">
          <a:xfrm>
            <a:off x="8016000" y="1513645"/>
            <a:ext cx="3600000" cy="36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Key Activity #3</a:t>
            </a:r>
          </a:p>
        </p:txBody>
      </p:sp>
      <p:sp>
        <p:nvSpPr>
          <p:cNvPr id="82" name="Rectangle 81">
            <a:extLst>
              <a:ext uri="{FF2B5EF4-FFF2-40B4-BE49-F238E27FC236}">
                <a16:creationId xmlns:a16="http://schemas.microsoft.com/office/drawing/2014/main" id="{C138BF83-818C-43AF-9A1D-35C5C11B7D7C}"/>
              </a:ext>
            </a:extLst>
          </p:cNvPr>
          <p:cNvSpPr/>
          <p:nvPr/>
        </p:nvSpPr>
        <p:spPr bwMode="auto">
          <a:xfrm>
            <a:off x="569936" y="2714481"/>
            <a:ext cx="360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Suggested Tasks</a:t>
            </a:r>
          </a:p>
        </p:txBody>
      </p:sp>
      <p:sp>
        <p:nvSpPr>
          <p:cNvPr id="83" name="Rectangle 82">
            <a:extLst>
              <a:ext uri="{FF2B5EF4-FFF2-40B4-BE49-F238E27FC236}">
                <a16:creationId xmlns:a16="http://schemas.microsoft.com/office/drawing/2014/main" id="{83187A5B-625A-4B99-B8EB-5C95982D980B}"/>
              </a:ext>
            </a:extLst>
          </p:cNvPr>
          <p:cNvSpPr/>
          <p:nvPr/>
        </p:nvSpPr>
        <p:spPr bwMode="auto">
          <a:xfrm>
            <a:off x="959936" y="3044899"/>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Create training syllabus for Data Owners and Data Stewards</a:t>
            </a:r>
          </a:p>
        </p:txBody>
      </p:sp>
      <p:sp>
        <p:nvSpPr>
          <p:cNvPr id="84" name="Rectangle 83">
            <a:extLst>
              <a:ext uri="{FF2B5EF4-FFF2-40B4-BE49-F238E27FC236}">
                <a16:creationId xmlns:a16="http://schemas.microsoft.com/office/drawing/2014/main" id="{B10DF12D-1A24-4561-8367-2E49DE288F09}"/>
              </a:ext>
            </a:extLst>
          </p:cNvPr>
          <p:cNvSpPr/>
          <p:nvPr/>
        </p:nvSpPr>
        <p:spPr bwMode="auto">
          <a:xfrm>
            <a:off x="569936" y="304489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85" name="Rectangle 84">
            <a:extLst>
              <a:ext uri="{FF2B5EF4-FFF2-40B4-BE49-F238E27FC236}">
                <a16:creationId xmlns:a16="http://schemas.microsoft.com/office/drawing/2014/main" id="{2A613A84-859C-4292-8E45-7D317E3FD747}"/>
              </a:ext>
            </a:extLst>
          </p:cNvPr>
          <p:cNvSpPr/>
          <p:nvPr/>
        </p:nvSpPr>
        <p:spPr bwMode="auto">
          <a:xfrm>
            <a:off x="959936" y="3375317"/>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Form Guiding Coalition</a:t>
            </a:r>
          </a:p>
        </p:txBody>
      </p:sp>
      <p:sp>
        <p:nvSpPr>
          <p:cNvPr id="86" name="Rectangle 85">
            <a:extLst>
              <a:ext uri="{FF2B5EF4-FFF2-40B4-BE49-F238E27FC236}">
                <a16:creationId xmlns:a16="http://schemas.microsoft.com/office/drawing/2014/main" id="{D5CD6E02-FB35-4E2F-AA31-1DCA1FF83749}"/>
              </a:ext>
            </a:extLst>
          </p:cNvPr>
          <p:cNvSpPr/>
          <p:nvPr/>
        </p:nvSpPr>
        <p:spPr bwMode="auto">
          <a:xfrm>
            <a:off x="569936" y="3375317"/>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2</a:t>
            </a:r>
          </a:p>
        </p:txBody>
      </p:sp>
      <p:sp>
        <p:nvSpPr>
          <p:cNvPr id="87" name="Rectangle 86">
            <a:extLst>
              <a:ext uri="{FF2B5EF4-FFF2-40B4-BE49-F238E27FC236}">
                <a16:creationId xmlns:a16="http://schemas.microsoft.com/office/drawing/2014/main" id="{85F5FAC1-6D37-4BCC-8081-DAB348E4B4C9}"/>
              </a:ext>
            </a:extLst>
          </p:cNvPr>
          <p:cNvSpPr/>
          <p:nvPr/>
        </p:nvSpPr>
        <p:spPr bwMode="auto">
          <a:xfrm>
            <a:off x="4296000" y="2714481"/>
            <a:ext cx="360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Suggested Tasks</a:t>
            </a:r>
          </a:p>
        </p:txBody>
      </p:sp>
      <p:sp>
        <p:nvSpPr>
          <p:cNvPr id="88" name="Rectangle 87">
            <a:extLst>
              <a:ext uri="{FF2B5EF4-FFF2-40B4-BE49-F238E27FC236}">
                <a16:creationId xmlns:a16="http://schemas.microsoft.com/office/drawing/2014/main" id="{58AE5D57-7EE9-489E-9664-C2A11DDF293A}"/>
              </a:ext>
            </a:extLst>
          </p:cNvPr>
          <p:cNvSpPr/>
          <p:nvPr/>
        </p:nvSpPr>
        <p:spPr bwMode="auto">
          <a:xfrm>
            <a:off x="4679936" y="3044899"/>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Assign Data owners</a:t>
            </a:r>
          </a:p>
        </p:txBody>
      </p:sp>
      <p:sp>
        <p:nvSpPr>
          <p:cNvPr id="96" name="Rectangle 95">
            <a:extLst>
              <a:ext uri="{FF2B5EF4-FFF2-40B4-BE49-F238E27FC236}">
                <a16:creationId xmlns:a16="http://schemas.microsoft.com/office/drawing/2014/main" id="{DED3D50C-ABC7-46FF-9F09-1C874C5E5754}"/>
              </a:ext>
            </a:extLst>
          </p:cNvPr>
          <p:cNvSpPr/>
          <p:nvPr/>
        </p:nvSpPr>
        <p:spPr bwMode="auto">
          <a:xfrm>
            <a:off x="4296000" y="304489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97" name="Rectangle 96">
            <a:extLst>
              <a:ext uri="{FF2B5EF4-FFF2-40B4-BE49-F238E27FC236}">
                <a16:creationId xmlns:a16="http://schemas.microsoft.com/office/drawing/2014/main" id="{00AD1AEC-9B64-4FA6-ABF0-8B7C3E53171B}"/>
              </a:ext>
            </a:extLst>
          </p:cNvPr>
          <p:cNvSpPr/>
          <p:nvPr/>
        </p:nvSpPr>
        <p:spPr bwMode="auto">
          <a:xfrm>
            <a:off x="4679936" y="3375317"/>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ata owners assign data stewards</a:t>
            </a:r>
          </a:p>
        </p:txBody>
      </p:sp>
      <p:sp>
        <p:nvSpPr>
          <p:cNvPr id="98" name="Rectangle 97">
            <a:extLst>
              <a:ext uri="{FF2B5EF4-FFF2-40B4-BE49-F238E27FC236}">
                <a16:creationId xmlns:a16="http://schemas.microsoft.com/office/drawing/2014/main" id="{632F5F3F-EDE3-4CAB-845F-320AD35181B1}"/>
              </a:ext>
            </a:extLst>
          </p:cNvPr>
          <p:cNvSpPr/>
          <p:nvPr/>
        </p:nvSpPr>
        <p:spPr bwMode="auto">
          <a:xfrm>
            <a:off x="4296000" y="3375317"/>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2</a:t>
            </a:r>
          </a:p>
        </p:txBody>
      </p:sp>
      <p:sp>
        <p:nvSpPr>
          <p:cNvPr id="101" name="Rectangle 100">
            <a:extLst>
              <a:ext uri="{FF2B5EF4-FFF2-40B4-BE49-F238E27FC236}">
                <a16:creationId xmlns:a16="http://schemas.microsoft.com/office/drawing/2014/main" id="{FF2D5D30-64DB-45F0-A560-4A4A00248A97}"/>
              </a:ext>
            </a:extLst>
          </p:cNvPr>
          <p:cNvSpPr/>
          <p:nvPr/>
        </p:nvSpPr>
        <p:spPr bwMode="auto">
          <a:xfrm>
            <a:off x="8009936" y="2714481"/>
            <a:ext cx="360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Suggested Tasks</a:t>
            </a:r>
          </a:p>
        </p:txBody>
      </p:sp>
      <p:sp>
        <p:nvSpPr>
          <p:cNvPr id="102" name="Rectangle 101">
            <a:extLst>
              <a:ext uri="{FF2B5EF4-FFF2-40B4-BE49-F238E27FC236}">
                <a16:creationId xmlns:a16="http://schemas.microsoft.com/office/drawing/2014/main" id="{8E27B005-51E1-4934-A147-437CEB55E228}"/>
              </a:ext>
            </a:extLst>
          </p:cNvPr>
          <p:cNvSpPr/>
          <p:nvPr/>
        </p:nvSpPr>
        <p:spPr bwMode="auto">
          <a:xfrm>
            <a:off x="8393872" y="3044899"/>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termine membership of DG Council</a:t>
            </a:r>
          </a:p>
        </p:txBody>
      </p:sp>
      <p:sp>
        <p:nvSpPr>
          <p:cNvPr id="103" name="Rectangle 102">
            <a:extLst>
              <a:ext uri="{FF2B5EF4-FFF2-40B4-BE49-F238E27FC236}">
                <a16:creationId xmlns:a16="http://schemas.microsoft.com/office/drawing/2014/main" id="{98D71C53-3EDB-4EC6-B936-8719AA0609B8}"/>
              </a:ext>
            </a:extLst>
          </p:cNvPr>
          <p:cNvSpPr/>
          <p:nvPr/>
        </p:nvSpPr>
        <p:spPr bwMode="auto">
          <a:xfrm>
            <a:off x="8009936" y="304489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104" name="Rectangle 103">
            <a:extLst>
              <a:ext uri="{FF2B5EF4-FFF2-40B4-BE49-F238E27FC236}">
                <a16:creationId xmlns:a16="http://schemas.microsoft.com/office/drawing/2014/main" id="{B3347B4F-8187-4D35-965D-765F59626D2D}"/>
              </a:ext>
            </a:extLst>
          </p:cNvPr>
          <p:cNvSpPr/>
          <p:nvPr/>
        </p:nvSpPr>
        <p:spPr bwMode="auto">
          <a:xfrm>
            <a:off x="8393872" y="3375317"/>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termine DG Council meeting cadence</a:t>
            </a:r>
          </a:p>
        </p:txBody>
      </p:sp>
      <p:sp>
        <p:nvSpPr>
          <p:cNvPr id="105" name="Rectangle 104">
            <a:extLst>
              <a:ext uri="{FF2B5EF4-FFF2-40B4-BE49-F238E27FC236}">
                <a16:creationId xmlns:a16="http://schemas.microsoft.com/office/drawing/2014/main" id="{32B12DE2-6D47-4A1C-902A-60B8B723C009}"/>
              </a:ext>
            </a:extLst>
          </p:cNvPr>
          <p:cNvSpPr/>
          <p:nvPr/>
        </p:nvSpPr>
        <p:spPr bwMode="auto">
          <a:xfrm>
            <a:off x="8009936" y="3375317"/>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2</a:t>
            </a:r>
          </a:p>
        </p:txBody>
      </p:sp>
      <p:sp>
        <p:nvSpPr>
          <p:cNvPr id="106" name="Rectangle 105">
            <a:extLst>
              <a:ext uri="{FF2B5EF4-FFF2-40B4-BE49-F238E27FC236}">
                <a16:creationId xmlns:a16="http://schemas.microsoft.com/office/drawing/2014/main" id="{F45E24CB-BCA9-4AE8-B675-AE9E28EEE1A1}"/>
              </a:ext>
            </a:extLst>
          </p:cNvPr>
          <p:cNvSpPr/>
          <p:nvPr/>
        </p:nvSpPr>
        <p:spPr bwMode="auto">
          <a:xfrm>
            <a:off x="8393872" y="369519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Hold Data Governance Kick-off Meeting</a:t>
            </a:r>
          </a:p>
        </p:txBody>
      </p:sp>
      <p:sp>
        <p:nvSpPr>
          <p:cNvPr id="107" name="Rectangle 106">
            <a:extLst>
              <a:ext uri="{FF2B5EF4-FFF2-40B4-BE49-F238E27FC236}">
                <a16:creationId xmlns:a16="http://schemas.microsoft.com/office/drawing/2014/main" id="{13BE5E27-C19A-43E3-A083-EFDE07FABCC2}"/>
              </a:ext>
            </a:extLst>
          </p:cNvPr>
          <p:cNvSpPr/>
          <p:nvPr/>
        </p:nvSpPr>
        <p:spPr bwMode="auto">
          <a:xfrm>
            <a:off x="8009936" y="369519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3</a:t>
            </a:r>
          </a:p>
        </p:txBody>
      </p:sp>
      <p:sp>
        <p:nvSpPr>
          <p:cNvPr id="108" name="Rectangle 107">
            <a:extLst>
              <a:ext uri="{FF2B5EF4-FFF2-40B4-BE49-F238E27FC236}">
                <a16:creationId xmlns:a16="http://schemas.microsoft.com/office/drawing/2014/main" id="{79893560-6544-4944-9360-2CE744F96320}"/>
              </a:ext>
            </a:extLst>
          </p:cNvPr>
          <p:cNvSpPr/>
          <p:nvPr/>
        </p:nvSpPr>
        <p:spPr bwMode="auto">
          <a:xfrm>
            <a:off x="8393872" y="403052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termine timing for launching data stewards forum</a:t>
            </a:r>
          </a:p>
        </p:txBody>
      </p:sp>
      <p:sp>
        <p:nvSpPr>
          <p:cNvPr id="109" name="Rectangle 108">
            <a:extLst>
              <a:ext uri="{FF2B5EF4-FFF2-40B4-BE49-F238E27FC236}">
                <a16:creationId xmlns:a16="http://schemas.microsoft.com/office/drawing/2014/main" id="{37DD3941-7F35-4CA6-AB95-3F4B18689F2B}"/>
              </a:ext>
            </a:extLst>
          </p:cNvPr>
          <p:cNvSpPr/>
          <p:nvPr/>
        </p:nvSpPr>
        <p:spPr bwMode="auto">
          <a:xfrm>
            <a:off x="8009936" y="403052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4</a:t>
            </a:r>
          </a:p>
        </p:txBody>
      </p:sp>
      <p:sp>
        <p:nvSpPr>
          <p:cNvPr id="149" name="Rectangle 148">
            <a:extLst>
              <a:ext uri="{FF2B5EF4-FFF2-40B4-BE49-F238E27FC236}">
                <a16:creationId xmlns:a16="http://schemas.microsoft.com/office/drawing/2014/main" id="{612E0D37-DE3D-4B99-93D6-73F8D4B95FCB}"/>
              </a:ext>
            </a:extLst>
          </p:cNvPr>
          <p:cNvSpPr/>
          <p:nvPr/>
        </p:nvSpPr>
        <p:spPr bwMode="auto">
          <a:xfrm>
            <a:off x="959936" y="369519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Collect top Data Challenges</a:t>
            </a:r>
          </a:p>
        </p:txBody>
      </p:sp>
      <p:sp>
        <p:nvSpPr>
          <p:cNvPr id="150" name="Rectangle 149">
            <a:extLst>
              <a:ext uri="{FF2B5EF4-FFF2-40B4-BE49-F238E27FC236}">
                <a16:creationId xmlns:a16="http://schemas.microsoft.com/office/drawing/2014/main" id="{91158DEA-05F0-4EBF-A637-38A65D2CB2CF}"/>
              </a:ext>
            </a:extLst>
          </p:cNvPr>
          <p:cNvSpPr/>
          <p:nvPr/>
        </p:nvSpPr>
        <p:spPr bwMode="auto">
          <a:xfrm>
            <a:off x="959936" y="403052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Guiding Coalition kick-off meeting</a:t>
            </a:r>
          </a:p>
        </p:txBody>
      </p:sp>
      <p:sp>
        <p:nvSpPr>
          <p:cNvPr id="151" name="Rectangle 150">
            <a:extLst>
              <a:ext uri="{FF2B5EF4-FFF2-40B4-BE49-F238E27FC236}">
                <a16:creationId xmlns:a16="http://schemas.microsoft.com/office/drawing/2014/main" id="{940D4CC4-F506-428F-9C0F-CAFB49C4B1EF}"/>
              </a:ext>
            </a:extLst>
          </p:cNvPr>
          <p:cNvSpPr/>
          <p:nvPr/>
        </p:nvSpPr>
        <p:spPr bwMode="auto">
          <a:xfrm>
            <a:off x="569936" y="369519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3</a:t>
            </a:r>
          </a:p>
        </p:txBody>
      </p:sp>
      <p:sp>
        <p:nvSpPr>
          <p:cNvPr id="152" name="Rectangle 151">
            <a:extLst>
              <a:ext uri="{FF2B5EF4-FFF2-40B4-BE49-F238E27FC236}">
                <a16:creationId xmlns:a16="http://schemas.microsoft.com/office/drawing/2014/main" id="{A4D5D8BF-4CA6-4E77-9ECA-6C8C989C4D9E}"/>
              </a:ext>
            </a:extLst>
          </p:cNvPr>
          <p:cNvSpPr/>
          <p:nvPr/>
        </p:nvSpPr>
        <p:spPr bwMode="auto">
          <a:xfrm>
            <a:off x="569936" y="403052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4</a:t>
            </a:r>
          </a:p>
        </p:txBody>
      </p:sp>
      <p:sp>
        <p:nvSpPr>
          <p:cNvPr id="153" name="Rectangle 152">
            <a:extLst>
              <a:ext uri="{FF2B5EF4-FFF2-40B4-BE49-F238E27FC236}">
                <a16:creationId xmlns:a16="http://schemas.microsoft.com/office/drawing/2014/main" id="{C58C3445-31B4-431E-8217-8C78B9D0CA84}"/>
              </a:ext>
            </a:extLst>
          </p:cNvPr>
          <p:cNvSpPr/>
          <p:nvPr/>
        </p:nvSpPr>
        <p:spPr bwMode="auto">
          <a:xfrm>
            <a:off x="8393872" y="4368145"/>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Hold data stewards forum kick-off</a:t>
            </a:r>
          </a:p>
        </p:txBody>
      </p:sp>
      <p:sp>
        <p:nvSpPr>
          <p:cNvPr id="159" name="Rectangle 158">
            <a:extLst>
              <a:ext uri="{FF2B5EF4-FFF2-40B4-BE49-F238E27FC236}">
                <a16:creationId xmlns:a16="http://schemas.microsoft.com/office/drawing/2014/main" id="{EB7E4903-8EF4-49FE-8819-A9B411643B1C}"/>
              </a:ext>
            </a:extLst>
          </p:cNvPr>
          <p:cNvSpPr/>
          <p:nvPr/>
        </p:nvSpPr>
        <p:spPr bwMode="auto">
          <a:xfrm>
            <a:off x="8009936" y="4368145"/>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5</a:t>
            </a:r>
          </a:p>
        </p:txBody>
      </p:sp>
      <p:sp>
        <p:nvSpPr>
          <p:cNvPr id="160" name="Rectangle 159">
            <a:extLst>
              <a:ext uri="{FF2B5EF4-FFF2-40B4-BE49-F238E27FC236}">
                <a16:creationId xmlns:a16="http://schemas.microsoft.com/office/drawing/2014/main" id="{BF90BFFA-BE64-4A44-8D8B-1B5CFB0A60CB}"/>
              </a:ext>
            </a:extLst>
          </p:cNvPr>
          <p:cNvSpPr/>
          <p:nvPr/>
        </p:nvSpPr>
        <p:spPr bwMode="auto">
          <a:xfrm>
            <a:off x="8393872" y="4698563"/>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cide on rotation timing for meeting chair</a:t>
            </a:r>
          </a:p>
        </p:txBody>
      </p:sp>
      <p:sp>
        <p:nvSpPr>
          <p:cNvPr id="161" name="Rectangle 160">
            <a:extLst>
              <a:ext uri="{FF2B5EF4-FFF2-40B4-BE49-F238E27FC236}">
                <a16:creationId xmlns:a16="http://schemas.microsoft.com/office/drawing/2014/main" id="{5F7F7AE6-587B-4317-9839-2FEB4C62D613}"/>
              </a:ext>
            </a:extLst>
          </p:cNvPr>
          <p:cNvSpPr/>
          <p:nvPr/>
        </p:nvSpPr>
        <p:spPr bwMode="auto">
          <a:xfrm>
            <a:off x="8009936" y="4698563"/>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6</a:t>
            </a:r>
          </a:p>
        </p:txBody>
      </p:sp>
      <p:sp>
        <p:nvSpPr>
          <p:cNvPr id="43" name="Rectangle 42">
            <a:extLst>
              <a:ext uri="{FF2B5EF4-FFF2-40B4-BE49-F238E27FC236}">
                <a16:creationId xmlns:a16="http://schemas.microsoft.com/office/drawing/2014/main" id="{821D2699-44F0-456B-8FAC-03A9DE6F7A78}"/>
              </a:ext>
            </a:extLst>
          </p:cNvPr>
          <p:cNvSpPr/>
          <p:nvPr/>
        </p:nvSpPr>
        <p:spPr bwMode="auto">
          <a:xfrm>
            <a:off x="4673872" y="369519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Prepare and host workshop for data owners and data stewards given by DG office</a:t>
            </a:r>
          </a:p>
        </p:txBody>
      </p:sp>
      <p:sp>
        <p:nvSpPr>
          <p:cNvPr id="44" name="Rectangle 43">
            <a:extLst>
              <a:ext uri="{FF2B5EF4-FFF2-40B4-BE49-F238E27FC236}">
                <a16:creationId xmlns:a16="http://schemas.microsoft.com/office/drawing/2014/main" id="{004CD000-865B-402F-ABEB-9AB466162CFE}"/>
              </a:ext>
            </a:extLst>
          </p:cNvPr>
          <p:cNvSpPr/>
          <p:nvPr/>
        </p:nvSpPr>
        <p:spPr bwMode="auto">
          <a:xfrm>
            <a:off x="4289936" y="369519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3</a:t>
            </a:r>
          </a:p>
        </p:txBody>
      </p:sp>
      <p:grpSp>
        <p:nvGrpSpPr>
          <p:cNvPr id="45" name="Group 44">
            <a:extLst>
              <a:ext uri="{FF2B5EF4-FFF2-40B4-BE49-F238E27FC236}">
                <a16:creationId xmlns:a16="http://schemas.microsoft.com/office/drawing/2014/main" id="{9E007E7A-C398-424B-992B-7627D8728F83}"/>
              </a:ext>
            </a:extLst>
          </p:cNvPr>
          <p:cNvGrpSpPr/>
          <p:nvPr/>
        </p:nvGrpSpPr>
        <p:grpSpPr>
          <a:xfrm>
            <a:off x="576262" y="336443"/>
            <a:ext cx="11052001" cy="1080744"/>
            <a:chOff x="576262" y="336443"/>
            <a:chExt cx="11052001" cy="1080744"/>
          </a:xfrm>
        </p:grpSpPr>
        <p:sp>
          <p:nvSpPr>
            <p:cNvPr id="46" name="TextBox 29">
              <a:extLst>
                <a:ext uri="{FF2B5EF4-FFF2-40B4-BE49-F238E27FC236}">
                  <a16:creationId xmlns:a16="http://schemas.microsoft.com/office/drawing/2014/main" id="{940B09AD-FDF5-495E-9B2C-66646532DCD6}"/>
                </a:ext>
              </a:extLst>
            </p:cNvPr>
            <p:cNvSpPr txBox="1"/>
            <p:nvPr/>
          </p:nvSpPr>
          <p:spPr>
            <a:xfrm>
              <a:off x="576262" y="1019046"/>
              <a:ext cx="2632527" cy="398141"/>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1200" cap="all" spc="60" normalizeH="0" baseline="0" noProof="0">
                  <a:ln>
                    <a:noFill/>
                  </a:ln>
                  <a:solidFill>
                    <a:srgbClr val="0069B4"/>
                  </a:solidFill>
                  <a:effectLst/>
                  <a:uLnTx/>
                  <a:uFillTx/>
                  <a:latin typeface="Calibri Light" panose="020F0302020204030204"/>
                  <a:ea typeface="+mn-ea"/>
                  <a:cs typeface="+mn-cs"/>
                </a:rPr>
                <a:t>USE CASE OWNER: Lance Cameron</a:t>
              </a:r>
            </a:p>
          </p:txBody>
        </p:sp>
        <p:sp>
          <p:nvSpPr>
            <p:cNvPr id="47" name="TextBox 29">
              <a:extLst>
                <a:ext uri="{FF2B5EF4-FFF2-40B4-BE49-F238E27FC236}">
                  <a16:creationId xmlns:a16="http://schemas.microsoft.com/office/drawing/2014/main" id="{BAD1434C-C30F-4929-B781-3C4D531A66B9}"/>
                </a:ext>
              </a:extLst>
            </p:cNvPr>
            <p:cNvSpPr txBox="1"/>
            <p:nvPr/>
          </p:nvSpPr>
          <p:spPr>
            <a:xfrm>
              <a:off x="576263" y="336443"/>
              <a:ext cx="11052000" cy="454705"/>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1200" cap="all" spc="60" normalizeH="0" baseline="0" noProof="0">
                  <a:ln>
                    <a:noFill/>
                  </a:ln>
                  <a:solidFill>
                    <a:srgbClr val="000000"/>
                  </a:solidFill>
                  <a:effectLst/>
                  <a:uLnTx/>
                  <a:uFillTx/>
                  <a:latin typeface="Calibri Light" panose="020F0302020204030204"/>
                  <a:ea typeface="+mn-ea"/>
                  <a:cs typeface="+mn-cs"/>
                </a:rPr>
                <a:t>Use case #4: Re-launch Data Governance </a:t>
              </a:r>
              <a:r>
                <a:rPr kumimoji="0" lang="en-US" sz="1200" b="0" i="0" u="none" strike="noStrike" kern="1200" cap="all" spc="60" normalizeH="0" baseline="0" noProof="0">
                  <a:ln>
                    <a:noFill/>
                  </a:ln>
                  <a:solidFill>
                    <a:srgbClr val="000000"/>
                  </a:solidFill>
                  <a:effectLst/>
                  <a:uLnTx/>
                  <a:uFillTx/>
                  <a:latin typeface="Calibri Light" panose="020F0302020204030204"/>
                  <a:ea typeface="+mn-ea"/>
                  <a:cs typeface="+mn-cs"/>
                </a:rPr>
                <a:t>throughout the global organization based on revisited documents (focus on partnering with business); determine together with data owners the order and timeline of implementing renewed Data Management capabilities on data domains by taking into account the business availability</a:t>
              </a:r>
              <a:endParaRPr kumimoji="0" lang="en-US" sz="1200" b="0" i="0" u="none" strike="noStrike" kern="0" cap="none" spc="0" normalizeH="0" baseline="0" noProof="0">
                <a:ln>
                  <a:noFill/>
                </a:ln>
                <a:solidFill>
                  <a:srgbClr val="001F5B"/>
                </a:solidFill>
                <a:effectLst/>
                <a:uLnTx/>
                <a:uFillTx/>
                <a:latin typeface="Calibri Light" panose="020F0302020204030204"/>
                <a:ea typeface="+mn-ea"/>
                <a:cs typeface="+mn-cs"/>
              </a:endParaRPr>
            </a:p>
          </p:txBody>
        </p:sp>
      </p:grpSp>
      <p:cxnSp>
        <p:nvCxnSpPr>
          <p:cNvPr id="48" name="Straight Connector 47">
            <a:extLst>
              <a:ext uri="{FF2B5EF4-FFF2-40B4-BE49-F238E27FC236}">
                <a16:creationId xmlns:a16="http://schemas.microsoft.com/office/drawing/2014/main" id="{93C67536-D255-4262-964A-F5D11F538AFD}"/>
              </a:ext>
            </a:extLst>
          </p:cNvPr>
          <p:cNvCxnSpPr>
            <a:cxnSpLocks/>
          </p:cNvCxnSpPr>
          <p:nvPr/>
        </p:nvCxnSpPr>
        <p:spPr>
          <a:xfrm>
            <a:off x="576263" y="1285746"/>
            <a:ext cx="11052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4412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118C27-AA21-4B56-B524-77BF98DFC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118C27-AA21-4B56-B524-77BF98DFCC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5" name="Rectangle 74">
            <a:extLst>
              <a:ext uri="{FF2B5EF4-FFF2-40B4-BE49-F238E27FC236}">
                <a16:creationId xmlns:a16="http://schemas.microsoft.com/office/drawing/2014/main" id="{C05C88D0-83FA-445C-B06E-C74EE6D99FDC}"/>
              </a:ext>
            </a:extLst>
          </p:cNvPr>
          <p:cNvSpPr/>
          <p:nvPr/>
        </p:nvSpPr>
        <p:spPr bwMode="auto">
          <a:xfrm>
            <a:off x="576000" y="1934063"/>
            <a:ext cx="3600000" cy="720000"/>
          </a:xfrm>
          <a:prstGeom prst="rect">
            <a:avLst/>
          </a:prstGeom>
          <a:solidFill>
            <a:schemeClr val="bg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9B4"/>
                </a:solidFill>
                <a:effectLst/>
                <a:uLnTx/>
                <a:uFillTx/>
                <a:latin typeface="Calibri" panose="020F0502020204030204"/>
                <a:ea typeface="+mn-ea"/>
                <a:cs typeface="+mn-cs"/>
              </a:rPr>
              <a:t>DG training</a:t>
            </a:r>
            <a:endParaRPr kumimoji="0" lang="en-US" sz="1200" b="1" i="0" u="none" strike="noStrike" kern="0" cap="none" spc="0" normalizeH="0" baseline="0" noProof="0">
              <a:ln>
                <a:noFill/>
              </a:ln>
              <a:solidFill>
                <a:srgbClr val="0069B4"/>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BB327F06-41A8-424F-BA6C-49DDC7E4799D}"/>
              </a:ext>
            </a:extLst>
          </p:cNvPr>
          <p:cNvSpPr/>
          <p:nvPr/>
        </p:nvSpPr>
        <p:spPr bwMode="auto">
          <a:xfrm>
            <a:off x="4296000" y="1934063"/>
            <a:ext cx="3600000" cy="720000"/>
          </a:xfrm>
          <a:prstGeom prst="rect">
            <a:avLst/>
          </a:prstGeom>
          <a:solidFill>
            <a:schemeClr val="bg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9B4"/>
                </a:solidFill>
                <a:effectLst/>
                <a:uLnTx/>
                <a:uFillTx/>
                <a:latin typeface="Calibri" panose="020F0502020204030204"/>
                <a:ea typeface="+mn-ea"/>
                <a:cs typeface="+mn-cs"/>
              </a:rPr>
              <a:t>Communication plan</a:t>
            </a:r>
            <a:endParaRPr kumimoji="0" lang="en-US" sz="1200" b="1" i="0" u="none" strike="noStrike" kern="0" cap="none" spc="0" normalizeH="0" baseline="0" noProof="0">
              <a:ln>
                <a:noFill/>
              </a:ln>
              <a:solidFill>
                <a:srgbClr val="0069B4"/>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80581380-C9A8-4FB4-9829-284680DA8B6F}"/>
              </a:ext>
            </a:extLst>
          </p:cNvPr>
          <p:cNvSpPr/>
          <p:nvPr/>
        </p:nvSpPr>
        <p:spPr bwMode="auto">
          <a:xfrm>
            <a:off x="576000" y="1513645"/>
            <a:ext cx="3600000" cy="36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Key Activity #4</a:t>
            </a:r>
          </a:p>
        </p:txBody>
      </p:sp>
      <p:sp>
        <p:nvSpPr>
          <p:cNvPr id="79" name="Rectangle 78">
            <a:extLst>
              <a:ext uri="{FF2B5EF4-FFF2-40B4-BE49-F238E27FC236}">
                <a16:creationId xmlns:a16="http://schemas.microsoft.com/office/drawing/2014/main" id="{DEC646A1-CEF6-4D89-B909-D687E3052480}"/>
              </a:ext>
            </a:extLst>
          </p:cNvPr>
          <p:cNvSpPr/>
          <p:nvPr/>
        </p:nvSpPr>
        <p:spPr bwMode="auto">
          <a:xfrm>
            <a:off x="4296000" y="1513645"/>
            <a:ext cx="3600000" cy="36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Key Activity #5</a:t>
            </a:r>
          </a:p>
        </p:txBody>
      </p:sp>
      <p:sp>
        <p:nvSpPr>
          <p:cNvPr id="81" name="Rectangle 80">
            <a:extLst>
              <a:ext uri="{FF2B5EF4-FFF2-40B4-BE49-F238E27FC236}">
                <a16:creationId xmlns:a16="http://schemas.microsoft.com/office/drawing/2014/main" id="{2CBA16E8-610B-4AE9-9838-C04409F3BA74}"/>
              </a:ext>
            </a:extLst>
          </p:cNvPr>
          <p:cNvSpPr/>
          <p:nvPr/>
        </p:nvSpPr>
        <p:spPr bwMode="auto">
          <a:xfrm>
            <a:off x="569936" y="2714481"/>
            <a:ext cx="360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Suggested Tasks</a:t>
            </a:r>
          </a:p>
        </p:txBody>
      </p:sp>
      <p:sp>
        <p:nvSpPr>
          <p:cNvPr id="82" name="Rectangle 81">
            <a:extLst>
              <a:ext uri="{FF2B5EF4-FFF2-40B4-BE49-F238E27FC236}">
                <a16:creationId xmlns:a16="http://schemas.microsoft.com/office/drawing/2014/main" id="{94B260AD-E621-4682-AE01-9D30DFB84749}"/>
              </a:ext>
            </a:extLst>
          </p:cNvPr>
          <p:cNvSpPr/>
          <p:nvPr/>
        </p:nvSpPr>
        <p:spPr bwMode="auto">
          <a:xfrm>
            <a:off x="959936" y="3044899"/>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Assess current ability level and decide subject matter for data owner/data steward training</a:t>
            </a:r>
          </a:p>
        </p:txBody>
      </p:sp>
      <p:sp>
        <p:nvSpPr>
          <p:cNvPr id="83" name="Rectangle 82">
            <a:extLst>
              <a:ext uri="{FF2B5EF4-FFF2-40B4-BE49-F238E27FC236}">
                <a16:creationId xmlns:a16="http://schemas.microsoft.com/office/drawing/2014/main" id="{11C0AF9D-5C23-46F9-A025-9ABD811AC83B}"/>
              </a:ext>
            </a:extLst>
          </p:cNvPr>
          <p:cNvSpPr/>
          <p:nvPr/>
        </p:nvSpPr>
        <p:spPr bwMode="auto">
          <a:xfrm>
            <a:off x="569936" y="304489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84" name="Rectangle 83">
            <a:extLst>
              <a:ext uri="{FF2B5EF4-FFF2-40B4-BE49-F238E27FC236}">
                <a16:creationId xmlns:a16="http://schemas.microsoft.com/office/drawing/2014/main" id="{B13539C9-0FD5-4888-BD98-2975514A8444}"/>
              </a:ext>
            </a:extLst>
          </p:cNvPr>
          <p:cNvSpPr/>
          <p:nvPr/>
        </p:nvSpPr>
        <p:spPr bwMode="auto">
          <a:xfrm>
            <a:off x="959936" y="3375317"/>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termine need for Collibra training for Data Owners/Stewards</a:t>
            </a:r>
          </a:p>
        </p:txBody>
      </p:sp>
      <p:sp>
        <p:nvSpPr>
          <p:cNvPr id="85" name="Rectangle 84">
            <a:extLst>
              <a:ext uri="{FF2B5EF4-FFF2-40B4-BE49-F238E27FC236}">
                <a16:creationId xmlns:a16="http://schemas.microsoft.com/office/drawing/2014/main" id="{FD6C8283-A314-432D-B5B7-0D3B9D0537BF}"/>
              </a:ext>
            </a:extLst>
          </p:cNvPr>
          <p:cNvSpPr/>
          <p:nvPr/>
        </p:nvSpPr>
        <p:spPr bwMode="auto">
          <a:xfrm>
            <a:off x="569936" y="3375317"/>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2</a:t>
            </a:r>
          </a:p>
        </p:txBody>
      </p:sp>
      <p:sp>
        <p:nvSpPr>
          <p:cNvPr id="86" name="Rectangle 85">
            <a:extLst>
              <a:ext uri="{FF2B5EF4-FFF2-40B4-BE49-F238E27FC236}">
                <a16:creationId xmlns:a16="http://schemas.microsoft.com/office/drawing/2014/main" id="{10C4543A-1974-403C-A479-8B6650406870}"/>
              </a:ext>
            </a:extLst>
          </p:cNvPr>
          <p:cNvSpPr/>
          <p:nvPr/>
        </p:nvSpPr>
        <p:spPr bwMode="auto">
          <a:xfrm>
            <a:off x="4296000" y="2714481"/>
            <a:ext cx="360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Suggested Tasks</a:t>
            </a:r>
          </a:p>
        </p:txBody>
      </p:sp>
      <p:sp>
        <p:nvSpPr>
          <p:cNvPr id="87" name="Rectangle 86">
            <a:extLst>
              <a:ext uri="{FF2B5EF4-FFF2-40B4-BE49-F238E27FC236}">
                <a16:creationId xmlns:a16="http://schemas.microsoft.com/office/drawing/2014/main" id="{94BA48C8-A72F-442E-98F8-3C8E3D145AB4}"/>
              </a:ext>
            </a:extLst>
          </p:cNvPr>
          <p:cNvSpPr/>
          <p:nvPr/>
        </p:nvSpPr>
        <p:spPr bwMode="auto">
          <a:xfrm>
            <a:off x="4679936" y="3044899"/>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velop communication plan for purpose of Data Governance</a:t>
            </a:r>
          </a:p>
        </p:txBody>
      </p:sp>
      <p:sp>
        <p:nvSpPr>
          <p:cNvPr id="88" name="Rectangle 87">
            <a:extLst>
              <a:ext uri="{FF2B5EF4-FFF2-40B4-BE49-F238E27FC236}">
                <a16:creationId xmlns:a16="http://schemas.microsoft.com/office/drawing/2014/main" id="{2025958D-20EB-4FD5-89DF-5FDFC1015974}"/>
              </a:ext>
            </a:extLst>
          </p:cNvPr>
          <p:cNvSpPr/>
          <p:nvPr/>
        </p:nvSpPr>
        <p:spPr bwMode="auto">
          <a:xfrm>
            <a:off x="4296000" y="304489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96" name="Rectangle 95">
            <a:extLst>
              <a:ext uri="{FF2B5EF4-FFF2-40B4-BE49-F238E27FC236}">
                <a16:creationId xmlns:a16="http://schemas.microsoft.com/office/drawing/2014/main" id="{CE1B8AA0-DDFC-43BD-AF7C-CB3F5B9D7BA6}"/>
              </a:ext>
            </a:extLst>
          </p:cNvPr>
          <p:cNvSpPr/>
          <p:nvPr/>
        </p:nvSpPr>
        <p:spPr bwMode="auto">
          <a:xfrm>
            <a:off x="4679936" y="3375317"/>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Execute communication plan</a:t>
            </a:r>
          </a:p>
        </p:txBody>
      </p:sp>
      <p:sp>
        <p:nvSpPr>
          <p:cNvPr id="97" name="Rectangle 96">
            <a:extLst>
              <a:ext uri="{FF2B5EF4-FFF2-40B4-BE49-F238E27FC236}">
                <a16:creationId xmlns:a16="http://schemas.microsoft.com/office/drawing/2014/main" id="{53D45DC1-2D8E-4BA9-A30E-5A9F71EF924A}"/>
              </a:ext>
            </a:extLst>
          </p:cNvPr>
          <p:cNvSpPr/>
          <p:nvPr/>
        </p:nvSpPr>
        <p:spPr bwMode="auto">
          <a:xfrm>
            <a:off x="4296000" y="3375317"/>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2</a:t>
            </a:r>
          </a:p>
        </p:txBody>
      </p:sp>
      <p:sp>
        <p:nvSpPr>
          <p:cNvPr id="107" name="Rectangle 106">
            <a:extLst>
              <a:ext uri="{FF2B5EF4-FFF2-40B4-BE49-F238E27FC236}">
                <a16:creationId xmlns:a16="http://schemas.microsoft.com/office/drawing/2014/main" id="{6886A06C-8935-4E8E-AEB0-38C9F8530DAD}"/>
              </a:ext>
            </a:extLst>
          </p:cNvPr>
          <p:cNvSpPr/>
          <p:nvPr/>
        </p:nvSpPr>
        <p:spPr bwMode="auto">
          <a:xfrm>
            <a:off x="959936" y="369519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Determine need for technical Collibra training for Data Officers</a:t>
            </a:r>
          </a:p>
        </p:txBody>
      </p:sp>
      <p:sp>
        <p:nvSpPr>
          <p:cNvPr id="108" name="Rectangle 107">
            <a:extLst>
              <a:ext uri="{FF2B5EF4-FFF2-40B4-BE49-F238E27FC236}">
                <a16:creationId xmlns:a16="http://schemas.microsoft.com/office/drawing/2014/main" id="{EE95193E-6E61-4EC9-9EDB-00DAE0B6942C}"/>
              </a:ext>
            </a:extLst>
          </p:cNvPr>
          <p:cNvSpPr/>
          <p:nvPr/>
        </p:nvSpPr>
        <p:spPr bwMode="auto">
          <a:xfrm>
            <a:off x="959936" y="4031438"/>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Create necessary DG training material</a:t>
            </a:r>
          </a:p>
        </p:txBody>
      </p:sp>
      <p:sp>
        <p:nvSpPr>
          <p:cNvPr id="109" name="Rectangle 108">
            <a:extLst>
              <a:ext uri="{FF2B5EF4-FFF2-40B4-BE49-F238E27FC236}">
                <a16:creationId xmlns:a16="http://schemas.microsoft.com/office/drawing/2014/main" id="{4AA58F40-0615-4D11-BEBB-2FE5A274D082}"/>
              </a:ext>
            </a:extLst>
          </p:cNvPr>
          <p:cNvSpPr/>
          <p:nvPr/>
        </p:nvSpPr>
        <p:spPr bwMode="auto">
          <a:xfrm>
            <a:off x="569936" y="3700106"/>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3</a:t>
            </a:r>
          </a:p>
        </p:txBody>
      </p:sp>
      <p:sp>
        <p:nvSpPr>
          <p:cNvPr id="110" name="Rectangle 109">
            <a:extLst>
              <a:ext uri="{FF2B5EF4-FFF2-40B4-BE49-F238E27FC236}">
                <a16:creationId xmlns:a16="http://schemas.microsoft.com/office/drawing/2014/main" id="{01E0C2B3-1A08-4390-B132-059B36F9F6E5}"/>
              </a:ext>
            </a:extLst>
          </p:cNvPr>
          <p:cNvSpPr/>
          <p:nvPr/>
        </p:nvSpPr>
        <p:spPr bwMode="auto">
          <a:xfrm>
            <a:off x="569936" y="403052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4</a:t>
            </a:r>
          </a:p>
        </p:txBody>
      </p:sp>
      <p:sp>
        <p:nvSpPr>
          <p:cNvPr id="115" name="Rectangle 114">
            <a:extLst>
              <a:ext uri="{FF2B5EF4-FFF2-40B4-BE49-F238E27FC236}">
                <a16:creationId xmlns:a16="http://schemas.microsoft.com/office/drawing/2014/main" id="{1FDAC842-10FB-4080-91E2-3FD0E29DC60A}"/>
              </a:ext>
            </a:extLst>
          </p:cNvPr>
          <p:cNvSpPr/>
          <p:nvPr/>
        </p:nvSpPr>
        <p:spPr bwMode="auto">
          <a:xfrm>
            <a:off x="959936" y="4357023"/>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Hold DG training sessions</a:t>
            </a:r>
          </a:p>
        </p:txBody>
      </p:sp>
      <p:sp>
        <p:nvSpPr>
          <p:cNvPr id="116" name="Rectangle 115">
            <a:extLst>
              <a:ext uri="{FF2B5EF4-FFF2-40B4-BE49-F238E27FC236}">
                <a16:creationId xmlns:a16="http://schemas.microsoft.com/office/drawing/2014/main" id="{780A9413-3729-46E7-BAB5-8AA4EA0755CE}"/>
              </a:ext>
            </a:extLst>
          </p:cNvPr>
          <p:cNvSpPr/>
          <p:nvPr/>
        </p:nvSpPr>
        <p:spPr bwMode="auto">
          <a:xfrm>
            <a:off x="569936" y="435610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5</a:t>
            </a:r>
          </a:p>
        </p:txBody>
      </p:sp>
      <p:sp>
        <p:nvSpPr>
          <p:cNvPr id="117" name="Rectangle 116">
            <a:extLst>
              <a:ext uri="{FF2B5EF4-FFF2-40B4-BE49-F238E27FC236}">
                <a16:creationId xmlns:a16="http://schemas.microsoft.com/office/drawing/2014/main" id="{7C33C9E8-585E-4817-BF05-D6B9A9F115BD}"/>
              </a:ext>
            </a:extLst>
          </p:cNvPr>
          <p:cNvSpPr/>
          <p:nvPr/>
        </p:nvSpPr>
        <p:spPr bwMode="auto">
          <a:xfrm>
            <a:off x="4679936" y="369519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Periodically review for timing and content</a:t>
            </a:r>
          </a:p>
        </p:txBody>
      </p:sp>
      <p:sp>
        <p:nvSpPr>
          <p:cNvPr id="118" name="Rectangle 117">
            <a:extLst>
              <a:ext uri="{FF2B5EF4-FFF2-40B4-BE49-F238E27FC236}">
                <a16:creationId xmlns:a16="http://schemas.microsoft.com/office/drawing/2014/main" id="{569001CA-5C7F-41C7-B45A-A83FE3AAE828}"/>
              </a:ext>
            </a:extLst>
          </p:cNvPr>
          <p:cNvSpPr/>
          <p:nvPr/>
        </p:nvSpPr>
        <p:spPr bwMode="auto">
          <a:xfrm>
            <a:off x="4296000" y="369519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3</a:t>
            </a:r>
          </a:p>
        </p:txBody>
      </p:sp>
      <p:grpSp>
        <p:nvGrpSpPr>
          <p:cNvPr id="35" name="Group 34">
            <a:extLst>
              <a:ext uri="{FF2B5EF4-FFF2-40B4-BE49-F238E27FC236}">
                <a16:creationId xmlns:a16="http://schemas.microsoft.com/office/drawing/2014/main" id="{2152C06A-92EF-4D68-934D-E577FA160963}"/>
              </a:ext>
            </a:extLst>
          </p:cNvPr>
          <p:cNvGrpSpPr/>
          <p:nvPr/>
        </p:nvGrpSpPr>
        <p:grpSpPr>
          <a:xfrm>
            <a:off x="576262" y="336443"/>
            <a:ext cx="11052001" cy="1080744"/>
            <a:chOff x="576262" y="336443"/>
            <a:chExt cx="11052001" cy="1080744"/>
          </a:xfrm>
        </p:grpSpPr>
        <p:sp>
          <p:nvSpPr>
            <p:cNvPr id="36" name="TextBox 29">
              <a:extLst>
                <a:ext uri="{FF2B5EF4-FFF2-40B4-BE49-F238E27FC236}">
                  <a16:creationId xmlns:a16="http://schemas.microsoft.com/office/drawing/2014/main" id="{C075F8B3-E480-4FE6-BE74-5AB638B10E4B}"/>
                </a:ext>
              </a:extLst>
            </p:cNvPr>
            <p:cNvSpPr txBox="1"/>
            <p:nvPr/>
          </p:nvSpPr>
          <p:spPr>
            <a:xfrm>
              <a:off x="576262" y="1019046"/>
              <a:ext cx="2632527" cy="398141"/>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1200" cap="all" spc="60" normalizeH="0" baseline="0" noProof="0">
                  <a:ln>
                    <a:noFill/>
                  </a:ln>
                  <a:solidFill>
                    <a:srgbClr val="0069B4"/>
                  </a:solidFill>
                  <a:effectLst/>
                  <a:uLnTx/>
                  <a:uFillTx/>
                  <a:latin typeface="Calibri Light" panose="020F0302020204030204"/>
                  <a:ea typeface="+mn-ea"/>
                  <a:cs typeface="+mn-cs"/>
                </a:rPr>
                <a:t>USE CASE OWNER: Lance Cameron</a:t>
              </a:r>
            </a:p>
          </p:txBody>
        </p:sp>
        <p:sp>
          <p:nvSpPr>
            <p:cNvPr id="37" name="TextBox 29">
              <a:extLst>
                <a:ext uri="{FF2B5EF4-FFF2-40B4-BE49-F238E27FC236}">
                  <a16:creationId xmlns:a16="http://schemas.microsoft.com/office/drawing/2014/main" id="{C7158763-DA35-4E9B-8E8D-5DE30278A088}"/>
                </a:ext>
              </a:extLst>
            </p:cNvPr>
            <p:cNvSpPr txBox="1"/>
            <p:nvPr/>
          </p:nvSpPr>
          <p:spPr>
            <a:xfrm>
              <a:off x="576263" y="336443"/>
              <a:ext cx="11052000" cy="454705"/>
            </a:xfrm>
            <a:prstGeom prst="rect">
              <a:avLst/>
            </a:prstGeom>
            <a:noFill/>
            <a:ln w="12700" cap="sq">
              <a:noFill/>
              <a:miter lim="800000"/>
            </a:ln>
          </p:spPr>
          <p:txBody>
            <a:bodyPr wrap="square" lIns="0" tIns="0" rIns="0" bIns="0" rtlCol="0" anchor="t">
              <a:noAutofit/>
            </a:bodyPr>
            <a:lstStyle/>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1" i="0" u="none" strike="noStrike" kern="1200" cap="all" spc="60" normalizeH="0" baseline="0" noProof="0">
                  <a:ln>
                    <a:noFill/>
                  </a:ln>
                  <a:solidFill>
                    <a:srgbClr val="000000"/>
                  </a:solidFill>
                  <a:effectLst/>
                  <a:uLnTx/>
                  <a:uFillTx/>
                  <a:latin typeface="Calibri Light" panose="020F0302020204030204"/>
                  <a:ea typeface="+mn-ea"/>
                  <a:cs typeface="+mn-cs"/>
                </a:rPr>
                <a:t>Use case #4: Re-launch Data Governance </a:t>
              </a:r>
              <a:r>
                <a:rPr kumimoji="0" lang="en-US" sz="1200" b="0" i="0" u="none" strike="noStrike" kern="1200" cap="all" spc="60" normalizeH="0" baseline="0" noProof="0">
                  <a:ln>
                    <a:noFill/>
                  </a:ln>
                  <a:solidFill>
                    <a:srgbClr val="000000"/>
                  </a:solidFill>
                  <a:effectLst/>
                  <a:uLnTx/>
                  <a:uFillTx/>
                  <a:latin typeface="Calibri Light" panose="020F0302020204030204"/>
                  <a:ea typeface="+mn-ea"/>
                  <a:cs typeface="+mn-cs"/>
                </a:rPr>
                <a:t>throughout the global organization based on revisited documents (focus on partnering with business); determine together with data owners the order and timeline of implementing renewed Data Management capabilities on data domains by taking into account the business availability</a:t>
              </a:r>
            </a:p>
            <a:p>
              <a:pPr marL="0" marR="0" lvl="0" indent="0" algn="l" defTabSz="913943" rtl="0" eaLnBrk="1" fontAlgn="auto" latinLnBrk="0" hangingPunct="1">
                <a:lnSpc>
                  <a:spcPct val="130000"/>
                </a:lnSpc>
                <a:spcBef>
                  <a:spcPts val="0"/>
                </a:spcBef>
                <a:spcAft>
                  <a:spcPts val="0"/>
                </a:spcAft>
                <a:buClrTx/>
                <a:buSzTx/>
                <a:buFontTx/>
                <a:buNone/>
                <a:tabLst/>
                <a:defRPr/>
              </a:pPr>
              <a:r>
                <a:rPr kumimoji="0" lang="en-US" sz="1200" b="0" i="0" u="none" strike="noStrike" kern="1200" cap="all" spc="60" normalizeH="0" baseline="0" noProof="0">
                  <a:ln>
                    <a:noFill/>
                  </a:ln>
                  <a:solidFill>
                    <a:srgbClr val="000000"/>
                  </a:solidFill>
                  <a:effectLst/>
                  <a:uLnTx/>
                  <a:uFillTx/>
                  <a:latin typeface="Calibri Light" panose="020F0302020204030204"/>
                  <a:ea typeface="+mn-ea"/>
                  <a:cs typeface="+mn-cs"/>
                </a:rPr>
                <a:t> </a:t>
              </a:r>
            </a:p>
          </p:txBody>
        </p:sp>
      </p:grpSp>
      <p:cxnSp>
        <p:nvCxnSpPr>
          <p:cNvPr id="38" name="Straight Connector 37">
            <a:extLst>
              <a:ext uri="{FF2B5EF4-FFF2-40B4-BE49-F238E27FC236}">
                <a16:creationId xmlns:a16="http://schemas.microsoft.com/office/drawing/2014/main" id="{681C0592-2A4B-4187-93AA-7B90C410B32D}"/>
              </a:ext>
            </a:extLst>
          </p:cNvPr>
          <p:cNvCxnSpPr>
            <a:cxnSpLocks/>
          </p:cNvCxnSpPr>
          <p:nvPr/>
        </p:nvCxnSpPr>
        <p:spPr>
          <a:xfrm>
            <a:off x="576263" y="1285746"/>
            <a:ext cx="11052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F7C225AD-D84D-4628-BC03-DC8E67ED4442}"/>
              </a:ext>
            </a:extLst>
          </p:cNvPr>
          <p:cNvSpPr/>
          <p:nvPr/>
        </p:nvSpPr>
        <p:spPr bwMode="auto">
          <a:xfrm>
            <a:off x="8028263" y="1934063"/>
            <a:ext cx="3600000" cy="720000"/>
          </a:xfrm>
          <a:prstGeom prst="rect">
            <a:avLst/>
          </a:prstGeom>
          <a:solidFill>
            <a:schemeClr val="bg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69B4"/>
                </a:solidFill>
                <a:effectLst/>
                <a:uLnTx/>
                <a:uFillTx/>
                <a:latin typeface="Calibri" panose="020F0502020204030204"/>
                <a:ea typeface="+mn-ea"/>
                <a:cs typeface="+mn-cs"/>
              </a:rPr>
              <a:t>Kick off Data Governance processes</a:t>
            </a:r>
          </a:p>
        </p:txBody>
      </p:sp>
      <p:sp>
        <p:nvSpPr>
          <p:cNvPr id="42" name="Rectangle 41">
            <a:extLst>
              <a:ext uri="{FF2B5EF4-FFF2-40B4-BE49-F238E27FC236}">
                <a16:creationId xmlns:a16="http://schemas.microsoft.com/office/drawing/2014/main" id="{34C3F9D7-7BE5-4CB0-84B5-600C4633161C}"/>
              </a:ext>
            </a:extLst>
          </p:cNvPr>
          <p:cNvSpPr/>
          <p:nvPr/>
        </p:nvSpPr>
        <p:spPr bwMode="auto">
          <a:xfrm>
            <a:off x="8028263" y="1513645"/>
            <a:ext cx="3600000" cy="36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Key Activity #6</a:t>
            </a:r>
          </a:p>
        </p:txBody>
      </p:sp>
      <p:sp>
        <p:nvSpPr>
          <p:cNvPr id="43" name="Rectangle 42">
            <a:extLst>
              <a:ext uri="{FF2B5EF4-FFF2-40B4-BE49-F238E27FC236}">
                <a16:creationId xmlns:a16="http://schemas.microsoft.com/office/drawing/2014/main" id="{CADB1398-DF50-44F6-AA8C-2CEB912D5B51}"/>
              </a:ext>
            </a:extLst>
          </p:cNvPr>
          <p:cNvSpPr/>
          <p:nvPr/>
        </p:nvSpPr>
        <p:spPr bwMode="auto">
          <a:xfrm>
            <a:off x="8028263" y="2714481"/>
            <a:ext cx="360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Suggested Tasks</a:t>
            </a:r>
          </a:p>
        </p:txBody>
      </p:sp>
      <p:sp>
        <p:nvSpPr>
          <p:cNvPr id="44" name="Rectangle 43">
            <a:extLst>
              <a:ext uri="{FF2B5EF4-FFF2-40B4-BE49-F238E27FC236}">
                <a16:creationId xmlns:a16="http://schemas.microsoft.com/office/drawing/2014/main" id="{89D298AF-CA3F-49A2-BF8E-80F4A7BE27B8}"/>
              </a:ext>
            </a:extLst>
          </p:cNvPr>
          <p:cNvSpPr/>
          <p:nvPr/>
        </p:nvSpPr>
        <p:spPr bwMode="auto">
          <a:xfrm>
            <a:off x="8412199" y="3044899"/>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Roll out Data Governance playbook</a:t>
            </a:r>
          </a:p>
        </p:txBody>
      </p:sp>
      <p:sp>
        <p:nvSpPr>
          <p:cNvPr id="45" name="Rectangle 44">
            <a:extLst>
              <a:ext uri="{FF2B5EF4-FFF2-40B4-BE49-F238E27FC236}">
                <a16:creationId xmlns:a16="http://schemas.microsoft.com/office/drawing/2014/main" id="{0F9539CC-6AAE-40AC-AF81-ACEB4F84132F}"/>
              </a:ext>
            </a:extLst>
          </p:cNvPr>
          <p:cNvSpPr/>
          <p:nvPr/>
        </p:nvSpPr>
        <p:spPr bwMode="auto">
          <a:xfrm>
            <a:off x="8028263" y="3044899"/>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46" name="Rectangle 45">
            <a:extLst>
              <a:ext uri="{FF2B5EF4-FFF2-40B4-BE49-F238E27FC236}">
                <a16:creationId xmlns:a16="http://schemas.microsoft.com/office/drawing/2014/main" id="{7FACAAC1-F4CF-4A5D-95A0-0008CC343B0C}"/>
              </a:ext>
            </a:extLst>
          </p:cNvPr>
          <p:cNvSpPr/>
          <p:nvPr/>
        </p:nvSpPr>
        <p:spPr bwMode="auto">
          <a:xfrm>
            <a:off x="8412199" y="3375317"/>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begin Data Governance BAU processes</a:t>
            </a:r>
          </a:p>
        </p:txBody>
      </p:sp>
      <p:sp>
        <p:nvSpPr>
          <p:cNvPr id="47" name="Rectangle 46">
            <a:extLst>
              <a:ext uri="{FF2B5EF4-FFF2-40B4-BE49-F238E27FC236}">
                <a16:creationId xmlns:a16="http://schemas.microsoft.com/office/drawing/2014/main" id="{5DB10D46-919E-4238-B014-DA152E137CB8}"/>
              </a:ext>
            </a:extLst>
          </p:cNvPr>
          <p:cNvSpPr/>
          <p:nvPr/>
        </p:nvSpPr>
        <p:spPr bwMode="auto">
          <a:xfrm>
            <a:off x="8028263" y="3375317"/>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2</a:t>
            </a:r>
          </a:p>
        </p:txBody>
      </p:sp>
      <p:sp>
        <p:nvSpPr>
          <p:cNvPr id="48" name="Rectangle 47">
            <a:extLst>
              <a:ext uri="{FF2B5EF4-FFF2-40B4-BE49-F238E27FC236}">
                <a16:creationId xmlns:a16="http://schemas.microsoft.com/office/drawing/2014/main" id="{3D0BE6F4-67A9-4744-BACD-FB51F6839401}"/>
              </a:ext>
            </a:extLst>
          </p:cNvPr>
          <p:cNvSpPr/>
          <p:nvPr/>
        </p:nvSpPr>
        <p:spPr bwMode="auto">
          <a:xfrm>
            <a:off x="8412199" y="3695194"/>
            <a:ext cx="3216064" cy="270000"/>
          </a:xfrm>
          <a:prstGeom prst="rect">
            <a:avLst/>
          </a:prstGeom>
          <a:solidFill>
            <a:schemeClr val="bg1">
              <a:lumMod val="95000"/>
            </a:schemeClr>
          </a:solidFill>
          <a:ln w="9525">
            <a:noFill/>
            <a:miter lim="800000"/>
            <a:headEnd/>
            <a:tailEnd/>
          </a:ln>
          <a:effectLst/>
        </p:spPr>
        <p:txBody>
          <a:bodyPr lIns="71963" tIns="0" rIns="71963" bIns="0" anchor="ctr"/>
          <a:lstStyle/>
          <a:p>
            <a:pPr marL="0" marR="0" lvl="0" indent="0" algn="l" defTabSz="913943" rtl="0" eaLnBrk="1" fontAlgn="base"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Calibri" panose="020F0502020204030204"/>
                <a:ea typeface="+mn-ea"/>
                <a:cs typeface="+mn-cs"/>
              </a:rPr>
              <a:t>Perform CDE Scoping exercise </a:t>
            </a:r>
          </a:p>
        </p:txBody>
      </p:sp>
      <p:sp>
        <p:nvSpPr>
          <p:cNvPr id="49" name="Rectangle 48">
            <a:extLst>
              <a:ext uri="{FF2B5EF4-FFF2-40B4-BE49-F238E27FC236}">
                <a16:creationId xmlns:a16="http://schemas.microsoft.com/office/drawing/2014/main" id="{638F1884-114E-4D36-BE99-85222971738A}"/>
              </a:ext>
            </a:extLst>
          </p:cNvPr>
          <p:cNvSpPr/>
          <p:nvPr/>
        </p:nvSpPr>
        <p:spPr bwMode="auto">
          <a:xfrm>
            <a:off x="8028263" y="3695194"/>
            <a:ext cx="270000" cy="270000"/>
          </a:xfrm>
          <a:prstGeom prst="rect">
            <a:avLst/>
          </a:prstGeom>
          <a:solidFill>
            <a:schemeClr val="tx2"/>
          </a:solidFill>
          <a:ln w="9525">
            <a:noFill/>
            <a:miter lim="800000"/>
            <a:headEnd/>
            <a:tailEnd/>
          </a:ln>
          <a:effectLst/>
        </p:spPr>
        <p:txBody>
          <a:bodyPr lIns="71963" tIns="0" rIns="71963" bIns="0" anchor="ctr"/>
          <a:lstStyle/>
          <a:p>
            <a:pPr marL="0" marR="0" lvl="0" indent="0" algn="ctr" defTabSz="913943" rtl="0" eaLnBrk="1" fontAlgn="base"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mn-cs"/>
              </a:rPr>
              <a:t>3</a:t>
            </a:r>
          </a:p>
        </p:txBody>
      </p:sp>
    </p:spTree>
    <p:extLst>
      <p:ext uri="{BB962C8B-B14F-4D97-AF65-F5344CB8AC3E}">
        <p14:creationId xmlns:p14="http://schemas.microsoft.com/office/powerpoint/2010/main" val="829230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3200" b="0" i="0" u="none" strike="noStrike" kern="1200" cap="none" spc="0" normalizeH="0" baseline="0" noProof="0">
                <a:ln>
                  <a:noFill/>
                </a:ln>
                <a:effectLst/>
                <a:uLnTx/>
                <a:uFillTx/>
                <a:latin typeface="+mn-lt"/>
                <a:ea typeface="+mn-ea"/>
                <a:cs typeface="+mn-cs"/>
              </a:rPr>
              <a:t>Project Raft Support</a:t>
            </a:r>
          </a:p>
        </p:txBody>
      </p:sp>
    </p:spTree>
    <p:extLst>
      <p:ext uri="{BB962C8B-B14F-4D97-AF65-F5344CB8AC3E}">
        <p14:creationId xmlns:p14="http://schemas.microsoft.com/office/powerpoint/2010/main" val="1551801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182433-CAF8-429C-B1A8-58BDB42BB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5182433-CAF8-429C-B1A8-58BDB42BB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56411A2-E1AF-4E27-A28B-A7CCFAB2329A}"/>
              </a:ext>
            </a:extLst>
          </p:cNvPr>
          <p:cNvSpPr>
            <a:spLocks noGrp="1"/>
          </p:cNvSpPr>
          <p:nvPr>
            <p:ph type="ctrTitle"/>
          </p:nvPr>
        </p:nvSpPr>
        <p:spPr/>
        <p:txBody>
          <a:bodyPr vert="horz"/>
          <a:lstStyle/>
          <a:p>
            <a:r>
              <a:rPr lang="en-US"/>
              <a:t>Support on project RAFT</a:t>
            </a:r>
          </a:p>
        </p:txBody>
      </p:sp>
      <p:pic>
        <p:nvPicPr>
          <p:cNvPr id="11" name="Picture 10">
            <a:extLst>
              <a:ext uri="{FF2B5EF4-FFF2-40B4-BE49-F238E27FC236}">
                <a16:creationId xmlns:a16="http://schemas.microsoft.com/office/drawing/2014/main" id="{099943AB-4E01-46F8-9D8A-FD6E1FA03D69}"/>
              </a:ext>
            </a:extLst>
          </p:cNvPr>
          <p:cNvPicPr>
            <a:picLocks noChangeAspect="1"/>
          </p:cNvPicPr>
          <p:nvPr/>
        </p:nvPicPr>
        <p:blipFill>
          <a:blip r:embed="rId5"/>
          <a:stretch>
            <a:fillRect/>
          </a:stretch>
        </p:blipFill>
        <p:spPr>
          <a:xfrm>
            <a:off x="6134961" y="1917962"/>
            <a:ext cx="5481039" cy="3083084"/>
          </a:xfrm>
          <a:prstGeom prst="rect">
            <a:avLst/>
          </a:prstGeom>
          <a:ln>
            <a:solidFill>
              <a:schemeClr val="accent1"/>
            </a:solidFill>
          </a:ln>
        </p:spPr>
      </p:pic>
      <p:pic>
        <p:nvPicPr>
          <p:cNvPr id="14" name="Picture 13">
            <a:extLst>
              <a:ext uri="{FF2B5EF4-FFF2-40B4-BE49-F238E27FC236}">
                <a16:creationId xmlns:a16="http://schemas.microsoft.com/office/drawing/2014/main" id="{CBD914F1-969C-4EE9-BB80-BC63F68D1AFD}"/>
              </a:ext>
            </a:extLst>
          </p:cNvPr>
          <p:cNvPicPr>
            <a:picLocks noChangeAspect="1"/>
          </p:cNvPicPr>
          <p:nvPr/>
        </p:nvPicPr>
        <p:blipFill>
          <a:blip r:embed="rId6"/>
          <a:stretch>
            <a:fillRect/>
          </a:stretch>
        </p:blipFill>
        <p:spPr>
          <a:xfrm>
            <a:off x="576000" y="1917962"/>
            <a:ext cx="5381454" cy="3083084"/>
          </a:xfrm>
          <a:prstGeom prst="rect">
            <a:avLst/>
          </a:prstGeom>
          <a:ln>
            <a:solidFill>
              <a:schemeClr val="accent1"/>
            </a:solidFill>
          </a:ln>
        </p:spPr>
      </p:pic>
      <p:sp>
        <p:nvSpPr>
          <p:cNvPr id="15" name="Rectangle 14">
            <a:extLst>
              <a:ext uri="{FF2B5EF4-FFF2-40B4-BE49-F238E27FC236}">
                <a16:creationId xmlns:a16="http://schemas.microsoft.com/office/drawing/2014/main" id="{716CF665-5F05-4507-A306-D2023730F0D7}"/>
              </a:ext>
            </a:extLst>
          </p:cNvPr>
          <p:cNvSpPr/>
          <p:nvPr/>
        </p:nvSpPr>
        <p:spPr>
          <a:xfrm>
            <a:off x="576000" y="1570182"/>
            <a:ext cx="5381454" cy="24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emantic Layer Data Governance work flow</a:t>
            </a:r>
          </a:p>
        </p:txBody>
      </p:sp>
      <p:sp>
        <p:nvSpPr>
          <p:cNvPr id="16" name="Rectangle 15">
            <a:extLst>
              <a:ext uri="{FF2B5EF4-FFF2-40B4-BE49-F238E27FC236}">
                <a16:creationId xmlns:a16="http://schemas.microsoft.com/office/drawing/2014/main" id="{08DE3A9F-93CF-4E36-91D5-D0F5991BFCD0}"/>
              </a:ext>
            </a:extLst>
          </p:cNvPr>
          <p:cNvSpPr/>
          <p:nvPr/>
        </p:nvSpPr>
        <p:spPr>
          <a:xfrm>
            <a:off x="6096000" y="1570182"/>
            <a:ext cx="5381454" cy="24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solidFill>
                  <a:schemeClr val="tx1"/>
                </a:solidFill>
              </a:rPr>
              <a:t>Semantic</a:t>
            </a:r>
            <a:r>
              <a:rPr lang="de-DE">
                <a:solidFill>
                  <a:schemeClr val="tx1"/>
                </a:solidFill>
              </a:rPr>
              <a:t> Layer </a:t>
            </a:r>
            <a:r>
              <a:rPr lang="de-DE" err="1">
                <a:solidFill>
                  <a:schemeClr val="tx1"/>
                </a:solidFill>
              </a:rPr>
              <a:t>roles</a:t>
            </a:r>
            <a:endParaRPr lang="de-DE">
              <a:solidFill>
                <a:schemeClr val="tx1"/>
              </a:solidFill>
            </a:endParaRPr>
          </a:p>
        </p:txBody>
      </p:sp>
    </p:spTree>
    <p:extLst>
      <p:ext uri="{BB962C8B-B14F-4D97-AF65-F5344CB8AC3E}">
        <p14:creationId xmlns:p14="http://schemas.microsoft.com/office/powerpoint/2010/main" val="250476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3200" b="0" i="0" u="none" strike="noStrike" kern="1200" cap="none" spc="0" normalizeH="0" baseline="0" noProof="0">
                <a:ln>
                  <a:noFill/>
                </a:ln>
                <a:effectLst/>
                <a:uLnTx/>
                <a:uFillTx/>
                <a:latin typeface="+mn-lt"/>
                <a:ea typeface="+mn-ea"/>
                <a:cs typeface="+mn-cs"/>
              </a:rPr>
              <a:t>Guiding Coalition</a:t>
            </a:r>
          </a:p>
        </p:txBody>
      </p:sp>
    </p:spTree>
    <p:extLst>
      <p:ext uri="{BB962C8B-B14F-4D97-AF65-F5344CB8AC3E}">
        <p14:creationId xmlns:p14="http://schemas.microsoft.com/office/powerpoint/2010/main" val="1317199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5">
            <a:extLst>
              <a:ext uri="{FF2B5EF4-FFF2-40B4-BE49-F238E27FC236}">
                <a16:creationId xmlns:a16="http://schemas.microsoft.com/office/drawing/2014/main" id="{503E60D8-33DF-46AF-BEC3-78D1201ACCB6}"/>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approach</a:t>
            </a:r>
          </a:p>
        </p:txBody>
      </p:sp>
      <p:pic>
        <p:nvPicPr>
          <p:cNvPr id="16" name="Picture 15">
            <a:extLst>
              <a:ext uri="{FF2B5EF4-FFF2-40B4-BE49-F238E27FC236}">
                <a16:creationId xmlns:a16="http://schemas.microsoft.com/office/drawing/2014/main" id="{DBF5F496-8C97-41A7-99FE-13D3B3DB722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42206" y="1233649"/>
            <a:ext cx="3209843" cy="1805536"/>
          </a:xfrm>
          <a:prstGeom prst="rect">
            <a:avLst/>
          </a:prstGeom>
          <a:ln>
            <a:solidFill>
              <a:schemeClr val="tx1"/>
            </a:solidFill>
          </a:ln>
        </p:spPr>
      </p:pic>
      <p:pic>
        <p:nvPicPr>
          <p:cNvPr id="17" name="Picture 16">
            <a:extLst>
              <a:ext uri="{FF2B5EF4-FFF2-40B4-BE49-F238E27FC236}">
                <a16:creationId xmlns:a16="http://schemas.microsoft.com/office/drawing/2014/main" id="{40576131-86A7-4349-BB20-93B99FD59BD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536608" y="1233649"/>
            <a:ext cx="3212800" cy="1807200"/>
          </a:xfrm>
          <a:prstGeom prst="rect">
            <a:avLst/>
          </a:prstGeom>
          <a:ln>
            <a:solidFill>
              <a:schemeClr val="tx1"/>
            </a:solidFill>
          </a:ln>
        </p:spPr>
      </p:pic>
      <p:sp>
        <p:nvSpPr>
          <p:cNvPr id="20" name="Rectangle 19">
            <a:extLst>
              <a:ext uri="{FF2B5EF4-FFF2-40B4-BE49-F238E27FC236}">
                <a16:creationId xmlns:a16="http://schemas.microsoft.com/office/drawing/2014/main" id="{0F6F49F1-30DF-40C7-895E-E783D567C013}"/>
              </a:ext>
            </a:extLst>
          </p:cNvPr>
          <p:cNvSpPr/>
          <p:nvPr/>
        </p:nvSpPr>
        <p:spPr>
          <a:xfrm>
            <a:off x="825070" y="3561788"/>
            <a:ext cx="3350731" cy="1094650"/>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cide on appropriate members of guiding coalition</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iscuss sponsorship/ownership responsibiliti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Agree on SteerCo/Core team meeting cadence</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Identify top data issues beyond data strategy</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grpSp>
        <p:nvGrpSpPr>
          <p:cNvPr id="27" name="Group 26">
            <a:extLst>
              <a:ext uri="{FF2B5EF4-FFF2-40B4-BE49-F238E27FC236}">
                <a16:creationId xmlns:a16="http://schemas.microsoft.com/office/drawing/2014/main" id="{C8A67C98-9293-4965-8444-6BBF71539EC4}"/>
              </a:ext>
            </a:extLst>
          </p:cNvPr>
          <p:cNvGrpSpPr/>
          <p:nvPr/>
        </p:nvGrpSpPr>
        <p:grpSpPr>
          <a:xfrm>
            <a:off x="842205" y="3244764"/>
            <a:ext cx="3209845" cy="265667"/>
            <a:chOff x="609918" y="3423481"/>
            <a:chExt cx="3477120" cy="265806"/>
          </a:xfrm>
        </p:grpSpPr>
        <p:sp>
          <p:nvSpPr>
            <p:cNvPr id="28" name="Arrow: Left-Right 27">
              <a:extLst>
                <a:ext uri="{FF2B5EF4-FFF2-40B4-BE49-F238E27FC236}">
                  <a16:creationId xmlns:a16="http://schemas.microsoft.com/office/drawing/2014/main" id="{1843A53A-EF9F-4C7C-BE2D-7E374F6C7CAA}"/>
                </a:ext>
              </a:extLst>
            </p:cNvPr>
            <p:cNvSpPr/>
            <p:nvPr/>
          </p:nvSpPr>
          <p:spPr>
            <a:xfrm>
              <a:off x="60991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Form guiding coalition</a:t>
              </a:r>
            </a:p>
          </p:txBody>
        </p:sp>
        <p:cxnSp>
          <p:nvCxnSpPr>
            <p:cNvPr id="29" name="Straight Connector 28">
              <a:extLst>
                <a:ext uri="{FF2B5EF4-FFF2-40B4-BE49-F238E27FC236}">
                  <a16:creationId xmlns:a16="http://schemas.microsoft.com/office/drawing/2014/main" id="{871E74E7-FBC1-48A7-8000-7D93FD0055C3}"/>
                </a:ext>
              </a:extLst>
            </p:cNvPr>
            <p:cNvCxnSpPr>
              <a:stCxn id="28" idx="4"/>
              <a:endCxn id="28" idx="6"/>
            </p:cNvCxnSpPr>
            <p:nvPr/>
          </p:nvCxnSpPr>
          <p:spPr>
            <a:xfrm>
              <a:off x="60991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E074A95-AC20-4A5A-98AF-B4014CA2A90A}"/>
              </a:ext>
            </a:extLst>
          </p:cNvPr>
          <p:cNvGrpSpPr/>
          <p:nvPr/>
        </p:nvGrpSpPr>
        <p:grpSpPr>
          <a:xfrm>
            <a:off x="4533654" y="3244764"/>
            <a:ext cx="3212800" cy="265667"/>
            <a:chOff x="4361358" y="3423481"/>
            <a:chExt cx="3477120" cy="265806"/>
          </a:xfrm>
        </p:grpSpPr>
        <p:sp>
          <p:nvSpPr>
            <p:cNvPr id="31" name="Arrow: Left-Right 30">
              <a:extLst>
                <a:ext uri="{FF2B5EF4-FFF2-40B4-BE49-F238E27FC236}">
                  <a16:creationId xmlns:a16="http://schemas.microsoft.com/office/drawing/2014/main" id="{EF03AF27-48F0-4634-B96E-B450F1631C0E}"/>
                </a:ext>
              </a:extLst>
            </p:cNvPr>
            <p:cNvSpPr/>
            <p:nvPr/>
          </p:nvSpPr>
          <p:spPr>
            <a:xfrm>
              <a:off x="436135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Build 24 month roadmap</a:t>
              </a:r>
              <a:endParaRPr kumimoji="0" lang="en-US" sz="1399"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cxnSp>
          <p:nvCxnSpPr>
            <p:cNvPr id="32" name="Straight Connector 31">
              <a:extLst>
                <a:ext uri="{FF2B5EF4-FFF2-40B4-BE49-F238E27FC236}">
                  <a16:creationId xmlns:a16="http://schemas.microsoft.com/office/drawing/2014/main" id="{7720B8DE-38AB-4360-B04C-B40A3E5C0C35}"/>
                </a:ext>
              </a:extLst>
            </p:cNvPr>
            <p:cNvCxnSpPr>
              <a:stCxn id="31" idx="4"/>
              <a:endCxn id="31" idx="6"/>
            </p:cNvCxnSpPr>
            <p:nvPr/>
          </p:nvCxnSpPr>
          <p:spPr>
            <a:xfrm>
              <a:off x="436135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BBA63D6-CEF6-4EBE-91EC-6C454B487443}"/>
              </a:ext>
            </a:extLst>
          </p:cNvPr>
          <p:cNvGrpSpPr/>
          <p:nvPr/>
        </p:nvGrpSpPr>
        <p:grpSpPr>
          <a:xfrm>
            <a:off x="8228058" y="3244764"/>
            <a:ext cx="3215752" cy="265667"/>
            <a:chOff x="8112798" y="3423481"/>
            <a:chExt cx="3477120" cy="265806"/>
          </a:xfrm>
        </p:grpSpPr>
        <p:sp>
          <p:nvSpPr>
            <p:cNvPr id="34" name="Arrow: Left-Right 33">
              <a:extLst>
                <a:ext uri="{FF2B5EF4-FFF2-40B4-BE49-F238E27FC236}">
                  <a16:creationId xmlns:a16="http://schemas.microsoft.com/office/drawing/2014/main" id="{9B99BFBB-1F4F-4BA2-B95A-D87DB3ACFCE2}"/>
                </a:ext>
              </a:extLst>
            </p:cNvPr>
            <p:cNvSpPr/>
            <p:nvPr/>
          </p:nvSpPr>
          <p:spPr>
            <a:xfrm>
              <a:off x="811279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Relaunch Data Governance Program</a:t>
              </a:r>
            </a:p>
          </p:txBody>
        </p:sp>
        <p:cxnSp>
          <p:nvCxnSpPr>
            <p:cNvPr id="35" name="Straight Connector 34">
              <a:extLst>
                <a:ext uri="{FF2B5EF4-FFF2-40B4-BE49-F238E27FC236}">
                  <a16:creationId xmlns:a16="http://schemas.microsoft.com/office/drawing/2014/main" id="{F5FD2EC2-F14A-4CEC-B3A3-B724C0022FBB}"/>
                </a:ext>
              </a:extLst>
            </p:cNvPr>
            <p:cNvCxnSpPr>
              <a:stCxn id="34" idx="4"/>
              <a:endCxn id="34" idx="6"/>
            </p:cNvCxnSpPr>
            <p:nvPr/>
          </p:nvCxnSpPr>
          <p:spPr>
            <a:xfrm>
              <a:off x="811279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9D1B63D1-02AE-4CBA-8F4E-E4BF8041CA2F}"/>
              </a:ext>
            </a:extLst>
          </p:cNvPr>
          <p:cNvPicPr>
            <a:picLocks noChangeAspect="1"/>
          </p:cNvPicPr>
          <p:nvPr/>
        </p:nvPicPr>
        <p:blipFill>
          <a:blip r:embed="rId7"/>
          <a:stretch>
            <a:fillRect/>
          </a:stretch>
        </p:blipFill>
        <p:spPr>
          <a:xfrm>
            <a:off x="8231010" y="1233649"/>
            <a:ext cx="3212800" cy="1807200"/>
          </a:xfrm>
          <a:prstGeom prst="rect">
            <a:avLst/>
          </a:prstGeom>
          <a:ln>
            <a:solidFill>
              <a:schemeClr val="tx1"/>
            </a:solidFill>
          </a:ln>
        </p:spPr>
      </p:pic>
      <p:sp>
        <p:nvSpPr>
          <p:cNvPr id="36" name="Rectangle 35">
            <a:extLst>
              <a:ext uri="{FF2B5EF4-FFF2-40B4-BE49-F238E27FC236}">
                <a16:creationId xmlns:a16="http://schemas.microsoft.com/office/drawing/2014/main" id="{9621CEEE-F80B-4613-9E4E-F798E9807A17}"/>
              </a:ext>
            </a:extLst>
          </p:cNvPr>
          <p:cNvSpPr/>
          <p:nvPr/>
        </p:nvSpPr>
        <p:spPr>
          <a:xfrm>
            <a:off x="842205" y="5162124"/>
            <a:ext cx="3211200"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Stakeholder engagement</a:t>
            </a:r>
          </a:p>
        </p:txBody>
      </p:sp>
      <p:sp>
        <p:nvSpPr>
          <p:cNvPr id="37" name="Rectangle 36">
            <a:extLst>
              <a:ext uri="{FF2B5EF4-FFF2-40B4-BE49-F238E27FC236}">
                <a16:creationId xmlns:a16="http://schemas.microsoft.com/office/drawing/2014/main" id="{E81946A1-C870-4DB8-BB5B-71A44B28666C}"/>
              </a:ext>
            </a:extLst>
          </p:cNvPr>
          <p:cNvSpPr/>
          <p:nvPr/>
        </p:nvSpPr>
        <p:spPr>
          <a:xfrm>
            <a:off x="4527448" y="5162125"/>
            <a:ext cx="3219006"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Competition / integration RAFT</a:t>
            </a:r>
          </a:p>
        </p:txBody>
      </p:sp>
      <p:sp>
        <p:nvSpPr>
          <p:cNvPr id="38" name="Rectangle 37">
            <a:extLst>
              <a:ext uri="{FF2B5EF4-FFF2-40B4-BE49-F238E27FC236}">
                <a16:creationId xmlns:a16="http://schemas.microsoft.com/office/drawing/2014/main" id="{2EDDD7DF-028B-48A4-BD82-8F0C96EF66AA}"/>
              </a:ext>
            </a:extLst>
          </p:cNvPr>
          <p:cNvSpPr/>
          <p:nvPr/>
        </p:nvSpPr>
        <p:spPr>
          <a:xfrm>
            <a:off x="8231010" y="5162125"/>
            <a:ext cx="3212800"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dget / Commitment </a:t>
            </a:r>
          </a:p>
        </p:txBody>
      </p:sp>
      <p:sp>
        <p:nvSpPr>
          <p:cNvPr id="40" name="Oval 39">
            <a:extLst>
              <a:ext uri="{FF2B5EF4-FFF2-40B4-BE49-F238E27FC236}">
                <a16:creationId xmlns:a16="http://schemas.microsoft.com/office/drawing/2014/main" id="{7963A34B-D418-4FEC-970E-497CC46EE876}"/>
              </a:ext>
            </a:extLst>
          </p:cNvPr>
          <p:cNvSpPr/>
          <p:nvPr/>
        </p:nvSpPr>
        <p:spPr>
          <a:xfrm>
            <a:off x="590981"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41" name="Oval 40">
            <a:extLst>
              <a:ext uri="{FF2B5EF4-FFF2-40B4-BE49-F238E27FC236}">
                <a16:creationId xmlns:a16="http://schemas.microsoft.com/office/drawing/2014/main" id="{A2E3F37C-E0AF-4D45-8D37-85B425122159}"/>
              </a:ext>
            </a:extLst>
          </p:cNvPr>
          <p:cNvSpPr/>
          <p:nvPr/>
        </p:nvSpPr>
        <p:spPr>
          <a:xfrm>
            <a:off x="4287557"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42" name="Oval 41">
            <a:extLst>
              <a:ext uri="{FF2B5EF4-FFF2-40B4-BE49-F238E27FC236}">
                <a16:creationId xmlns:a16="http://schemas.microsoft.com/office/drawing/2014/main" id="{278BEA52-2C3E-4738-99EA-B3CE329F23C8}"/>
              </a:ext>
            </a:extLst>
          </p:cNvPr>
          <p:cNvSpPr/>
          <p:nvPr/>
        </p:nvSpPr>
        <p:spPr>
          <a:xfrm>
            <a:off x="7984133"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3" name="Rectangle 2">
            <a:extLst>
              <a:ext uri="{FF2B5EF4-FFF2-40B4-BE49-F238E27FC236}">
                <a16:creationId xmlns:a16="http://schemas.microsoft.com/office/drawing/2014/main" id="{79BEC2F4-C357-480D-8EFE-6C4BD393451E}"/>
              </a:ext>
            </a:extLst>
          </p:cNvPr>
          <p:cNvSpPr/>
          <p:nvPr/>
        </p:nvSpPr>
        <p:spPr>
          <a:xfrm>
            <a:off x="842205" y="4713769"/>
            <a:ext cx="10601605" cy="26765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mplications:</a:t>
            </a: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
            <a:extLst>
              <a:ext uri="{FF2B5EF4-FFF2-40B4-BE49-F238E27FC236}">
                <a16:creationId xmlns:a16="http://schemas.microsoft.com/office/drawing/2014/main" id="{5F60601B-DF0B-491C-90EE-53077B0C3F10}"/>
              </a:ext>
            </a:extLst>
          </p:cNvPr>
          <p:cNvGrpSpPr>
            <a:grpSpLocks noChangeAspect="1"/>
          </p:cNvGrpSpPr>
          <p:nvPr/>
        </p:nvGrpSpPr>
        <p:grpSpPr bwMode="auto">
          <a:xfrm>
            <a:off x="1010272" y="5234574"/>
            <a:ext cx="597489" cy="575467"/>
            <a:chOff x="-2004" y="2044"/>
            <a:chExt cx="1058" cy="1019"/>
          </a:xfrm>
          <a:solidFill>
            <a:schemeClr val="accent1"/>
          </a:solidFill>
        </p:grpSpPr>
        <p:sp>
          <p:nvSpPr>
            <p:cNvPr id="44" name="Freeform 5">
              <a:extLst>
                <a:ext uri="{FF2B5EF4-FFF2-40B4-BE49-F238E27FC236}">
                  <a16:creationId xmlns:a16="http://schemas.microsoft.com/office/drawing/2014/main" id="{2C4F145A-05AA-4942-8728-DF15D71B7C20}"/>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6">
              <a:extLst>
                <a:ext uri="{FF2B5EF4-FFF2-40B4-BE49-F238E27FC236}">
                  <a16:creationId xmlns:a16="http://schemas.microsoft.com/office/drawing/2014/main" id="{943E1A6E-05A9-480F-ACED-272C7C449CA1}"/>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Freeform 7">
              <a:extLst>
                <a:ext uri="{FF2B5EF4-FFF2-40B4-BE49-F238E27FC236}">
                  <a16:creationId xmlns:a16="http://schemas.microsoft.com/office/drawing/2014/main" id="{894A69D7-B06F-4A73-9A33-F585F4152AFC}"/>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Freeform 8">
              <a:extLst>
                <a:ext uri="{FF2B5EF4-FFF2-40B4-BE49-F238E27FC236}">
                  <a16:creationId xmlns:a16="http://schemas.microsoft.com/office/drawing/2014/main" id="{7203B628-89E2-4AF7-9286-9D402100F683}"/>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9">
              <a:extLst>
                <a:ext uri="{FF2B5EF4-FFF2-40B4-BE49-F238E27FC236}">
                  <a16:creationId xmlns:a16="http://schemas.microsoft.com/office/drawing/2014/main" id="{B1095EE8-6644-4116-94D8-A302512ECF63}"/>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10">
              <a:extLst>
                <a:ext uri="{FF2B5EF4-FFF2-40B4-BE49-F238E27FC236}">
                  <a16:creationId xmlns:a16="http://schemas.microsoft.com/office/drawing/2014/main" id="{535777E5-F133-4B73-AD66-B1B8E7843042}"/>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11">
              <a:extLst>
                <a:ext uri="{FF2B5EF4-FFF2-40B4-BE49-F238E27FC236}">
                  <a16:creationId xmlns:a16="http://schemas.microsoft.com/office/drawing/2014/main" id="{8A77E4E9-20E3-4015-B148-9BF9DAF4E2BA}"/>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12">
              <a:extLst>
                <a:ext uri="{FF2B5EF4-FFF2-40B4-BE49-F238E27FC236}">
                  <a16:creationId xmlns:a16="http://schemas.microsoft.com/office/drawing/2014/main" id="{B3E22497-5B31-411A-AB04-898A4B08ADC0}"/>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13">
              <a:extLst>
                <a:ext uri="{FF2B5EF4-FFF2-40B4-BE49-F238E27FC236}">
                  <a16:creationId xmlns:a16="http://schemas.microsoft.com/office/drawing/2014/main" id="{7E757E71-6568-4007-86F8-C75CC3A2828A}"/>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14">
              <a:extLst>
                <a:ext uri="{FF2B5EF4-FFF2-40B4-BE49-F238E27FC236}">
                  <a16:creationId xmlns:a16="http://schemas.microsoft.com/office/drawing/2014/main" id="{66163613-7531-4390-B50F-3839AD04029A}"/>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Freeform 15">
              <a:extLst>
                <a:ext uri="{FF2B5EF4-FFF2-40B4-BE49-F238E27FC236}">
                  <a16:creationId xmlns:a16="http://schemas.microsoft.com/office/drawing/2014/main" id="{196003BC-1C99-45FD-A97C-9B8A27D115C4}"/>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16">
              <a:extLst>
                <a:ext uri="{FF2B5EF4-FFF2-40B4-BE49-F238E27FC236}">
                  <a16:creationId xmlns:a16="http://schemas.microsoft.com/office/drawing/2014/main" id="{1EFD3BAA-3804-45A1-9238-D12C7699F110}"/>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Rectangle 17">
              <a:extLst>
                <a:ext uri="{FF2B5EF4-FFF2-40B4-BE49-F238E27FC236}">
                  <a16:creationId xmlns:a16="http://schemas.microsoft.com/office/drawing/2014/main" id="{BC7D05CF-5CD5-4668-BB41-5A4D032817D5}"/>
                </a:ext>
              </a:extLst>
            </p:cNvPr>
            <p:cNvSpPr>
              <a:spLocks noChangeArrowheads="1"/>
            </p:cNvSpPr>
            <p:nvPr/>
          </p:nvSpPr>
          <p:spPr bwMode="auto">
            <a:xfrm>
              <a:off x="-1328" y="2963"/>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18">
              <a:extLst>
                <a:ext uri="{FF2B5EF4-FFF2-40B4-BE49-F238E27FC236}">
                  <a16:creationId xmlns:a16="http://schemas.microsoft.com/office/drawing/2014/main" id="{2C52AC53-89CC-4F8D-B851-4DC7BD067F8C}"/>
                </a:ext>
              </a:extLst>
            </p:cNvPr>
            <p:cNvSpPr>
              <a:spLocks noChangeArrowheads="1"/>
            </p:cNvSpPr>
            <p:nvPr/>
          </p:nvSpPr>
          <p:spPr bwMode="auto">
            <a:xfrm>
              <a:off x="-1090" y="2963"/>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Rectangle 19">
              <a:extLst>
                <a:ext uri="{FF2B5EF4-FFF2-40B4-BE49-F238E27FC236}">
                  <a16:creationId xmlns:a16="http://schemas.microsoft.com/office/drawing/2014/main" id="{9772DCD5-3508-4AC3-90AC-B960DEA5C547}"/>
                </a:ext>
              </a:extLst>
            </p:cNvPr>
            <p:cNvSpPr>
              <a:spLocks noChangeArrowheads="1"/>
            </p:cNvSpPr>
            <p:nvPr/>
          </p:nvSpPr>
          <p:spPr bwMode="auto">
            <a:xfrm>
              <a:off x="-1050" y="2395"/>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Rectangle 20">
              <a:extLst>
                <a:ext uri="{FF2B5EF4-FFF2-40B4-BE49-F238E27FC236}">
                  <a16:creationId xmlns:a16="http://schemas.microsoft.com/office/drawing/2014/main" id="{435709F6-8515-404F-8800-87F97DCCFB1E}"/>
                </a:ext>
              </a:extLst>
            </p:cNvPr>
            <p:cNvSpPr>
              <a:spLocks noChangeArrowheads="1"/>
            </p:cNvSpPr>
            <p:nvPr/>
          </p:nvSpPr>
          <p:spPr bwMode="auto">
            <a:xfrm>
              <a:off x="-1050" y="2158"/>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Rectangle 21">
              <a:extLst>
                <a:ext uri="{FF2B5EF4-FFF2-40B4-BE49-F238E27FC236}">
                  <a16:creationId xmlns:a16="http://schemas.microsoft.com/office/drawing/2014/main" id="{3DB5445F-5991-4494-8D84-95D4E2EBE39B}"/>
                </a:ext>
              </a:extLst>
            </p:cNvPr>
            <p:cNvSpPr>
              <a:spLocks noChangeArrowheads="1"/>
            </p:cNvSpPr>
            <p:nvPr/>
          </p:nvSpPr>
          <p:spPr bwMode="auto">
            <a:xfrm>
              <a:off x="-1631" y="2062"/>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Rectangle 22">
              <a:extLst>
                <a:ext uri="{FF2B5EF4-FFF2-40B4-BE49-F238E27FC236}">
                  <a16:creationId xmlns:a16="http://schemas.microsoft.com/office/drawing/2014/main" id="{F333793E-CBC8-40A1-8BD4-33105644BB93}"/>
                </a:ext>
              </a:extLst>
            </p:cNvPr>
            <p:cNvSpPr>
              <a:spLocks noChangeArrowheads="1"/>
            </p:cNvSpPr>
            <p:nvPr/>
          </p:nvSpPr>
          <p:spPr bwMode="auto">
            <a:xfrm>
              <a:off x="-1870" y="2062"/>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Rectangle 23">
              <a:extLst>
                <a:ext uri="{FF2B5EF4-FFF2-40B4-BE49-F238E27FC236}">
                  <a16:creationId xmlns:a16="http://schemas.microsoft.com/office/drawing/2014/main" id="{E1B9A923-9FF6-492E-8D3F-AFB300C45F2C}"/>
                </a:ext>
              </a:extLst>
            </p:cNvPr>
            <p:cNvSpPr>
              <a:spLocks noChangeArrowheads="1"/>
            </p:cNvSpPr>
            <p:nvPr/>
          </p:nvSpPr>
          <p:spPr bwMode="auto">
            <a:xfrm>
              <a:off x="-1967" y="2920"/>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Rectangle 24">
              <a:extLst>
                <a:ext uri="{FF2B5EF4-FFF2-40B4-BE49-F238E27FC236}">
                  <a16:creationId xmlns:a16="http://schemas.microsoft.com/office/drawing/2014/main" id="{D9CBDF24-8C92-446D-B1D1-4511B91BF0E3}"/>
                </a:ext>
              </a:extLst>
            </p:cNvPr>
            <p:cNvSpPr>
              <a:spLocks noChangeArrowheads="1"/>
            </p:cNvSpPr>
            <p:nvPr/>
          </p:nvSpPr>
          <p:spPr bwMode="auto">
            <a:xfrm>
              <a:off x="-1967" y="2682"/>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3B3100FF-6124-4B12-B4F2-6606A816A678}"/>
              </a:ext>
            </a:extLst>
          </p:cNvPr>
          <p:cNvGrpSpPr>
            <a:grpSpLocks noChangeAspect="1"/>
          </p:cNvGrpSpPr>
          <p:nvPr/>
        </p:nvGrpSpPr>
        <p:grpSpPr>
          <a:xfrm>
            <a:off x="8214274" y="5234568"/>
            <a:ext cx="619163" cy="530248"/>
            <a:chOff x="3695682" y="689356"/>
            <a:chExt cx="4800596" cy="4111223"/>
          </a:xfrm>
          <a:solidFill>
            <a:schemeClr val="accent1"/>
          </a:solidFill>
        </p:grpSpPr>
        <p:sp>
          <p:nvSpPr>
            <p:cNvPr id="65" name="Freeform: Shape 64">
              <a:extLst>
                <a:ext uri="{FF2B5EF4-FFF2-40B4-BE49-F238E27FC236}">
                  <a16:creationId xmlns:a16="http://schemas.microsoft.com/office/drawing/2014/main" id="{157C0A86-03CA-4E5B-B148-AE0280230665}"/>
                </a:ext>
              </a:extLst>
            </p:cNvPr>
            <p:cNvSpPr/>
            <p:nvPr/>
          </p:nvSpPr>
          <p:spPr>
            <a:xfrm>
              <a:off x="5753100" y="1028700"/>
              <a:ext cx="685800" cy="1371600"/>
            </a:xfrm>
            <a:custGeom>
              <a:avLst/>
              <a:gdLst>
                <a:gd name="connsiteX0" fmla="*/ 428625 w 685800"/>
                <a:gd name="connsiteY0" fmla="*/ 1285875 h 1371600"/>
                <a:gd name="connsiteX1" fmla="*/ 428625 w 685800"/>
                <a:gd name="connsiteY1" fmla="*/ 1200150 h 1371600"/>
                <a:gd name="connsiteX2" fmla="*/ 514350 w 685800"/>
                <a:gd name="connsiteY2" fmla="*/ 1200150 h 1371600"/>
                <a:gd name="connsiteX3" fmla="*/ 635590 w 685800"/>
                <a:gd name="connsiteY3" fmla="*/ 1149940 h 1371600"/>
                <a:gd name="connsiteX4" fmla="*/ 685800 w 685800"/>
                <a:gd name="connsiteY4" fmla="*/ 1028700 h 1371600"/>
                <a:gd name="connsiteX5" fmla="*/ 685800 w 685800"/>
                <a:gd name="connsiteY5" fmla="*/ 771525 h 1371600"/>
                <a:gd name="connsiteX6" fmla="*/ 635590 w 685800"/>
                <a:gd name="connsiteY6" fmla="*/ 650285 h 1371600"/>
                <a:gd name="connsiteX7" fmla="*/ 514350 w 685800"/>
                <a:gd name="connsiteY7" fmla="*/ 600075 h 1371600"/>
                <a:gd name="connsiteX8" fmla="*/ 171450 w 685800"/>
                <a:gd name="connsiteY8" fmla="*/ 600075 h 1371600"/>
                <a:gd name="connsiteX9" fmla="*/ 171450 w 685800"/>
                <a:gd name="connsiteY9" fmla="*/ 342900 h 1371600"/>
                <a:gd name="connsiteX10" fmla="*/ 514350 w 685800"/>
                <a:gd name="connsiteY10" fmla="*/ 342900 h 1371600"/>
                <a:gd name="connsiteX11" fmla="*/ 600075 w 685800"/>
                <a:gd name="connsiteY11" fmla="*/ 428625 h 1371600"/>
                <a:gd name="connsiteX12" fmla="*/ 685800 w 685800"/>
                <a:gd name="connsiteY12" fmla="*/ 342900 h 1371600"/>
                <a:gd name="connsiteX13" fmla="*/ 635590 w 685800"/>
                <a:gd name="connsiteY13" fmla="*/ 221660 h 1371600"/>
                <a:gd name="connsiteX14" fmla="*/ 514350 w 685800"/>
                <a:gd name="connsiteY14" fmla="*/ 171450 h 1371600"/>
                <a:gd name="connsiteX15" fmla="*/ 428625 w 685800"/>
                <a:gd name="connsiteY15" fmla="*/ 171450 h 1371600"/>
                <a:gd name="connsiteX16" fmla="*/ 428625 w 685800"/>
                <a:gd name="connsiteY16" fmla="*/ 85725 h 1371600"/>
                <a:gd name="connsiteX17" fmla="*/ 342900 w 685800"/>
                <a:gd name="connsiteY17" fmla="*/ 0 h 1371600"/>
                <a:gd name="connsiteX18" fmla="*/ 257175 w 685800"/>
                <a:gd name="connsiteY18" fmla="*/ 85725 h 1371600"/>
                <a:gd name="connsiteX19" fmla="*/ 257175 w 685800"/>
                <a:gd name="connsiteY19" fmla="*/ 171450 h 1371600"/>
                <a:gd name="connsiteX20" fmla="*/ 171450 w 685800"/>
                <a:gd name="connsiteY20" fmla="*/ 171450 h 1371600"/>
                <a:gd name="connsiteX21" fmla="*/ 50210 w 685800"/>
                <a:gd name="connsiteY21" fmla="*/ 221660 h 1371600"/>
                <a:gd name="connsiteX22" fmla="*/ 0 w 685800"/>
                <a:gd name="connsiteY22" fmla="*/ 342900 h 1371600"/>
                <a:gd name="connsiteX23" fmla="*/ 0 w 685800"/>
                <a:gd name="connsiteY23" fmla="*/ 600075 h 1371600"/>
                <a:gd name="connsiteX24" fmla="*/ 50210 w 685800"/>
                <a:gd name="connsiteY24" fmla="*/ 721315 h 1371600"/>
                <a:gd name="connsiteX25" fmla="*/ 171450 w 685800"/>
                <a:gd name="connsiteY25" fmla="*/ 771525 h 1371600"/>
                <a:gd name="connsiteX26" fmla="*/ 514350 w 685800"/>
                <a:gd name="connsiteY26" fmla="*/ 771525 h 1371600"/>
                <a:gd name="connsiteX27" fmla="*/ 514350 w 685800"/>
                <a:gd name="connsiteY27" fmla="*/ 1028700 h 1371600"/>
                <a:gd name="connsiteX28" fmla="*/ 171450 w 685800"/>
                <a:gd name="connsiteY28" fmla="*/ 1028700 h 1371600"/>
                <a:gd name="connsiteX29" fmla="*/ 85725 w 685800"/>
                <a:gd name="connsiteY29" fmla="*/ 942975 h 1371600"/>
                <a:gd name="connsiteX30" fmla="*/ 0 w 685800"/>
                <a:gd name="connsiteY30" fmla="*/ 1028700 h 1371600"/>
                <a:gd name="connsiteX31" fmla="*/ 50210 w 685800"/>
                <a:gd name="connsiteY31" fmla="*/ 1149940 h 1371600"/>
                <a:gd name="connsiteX32" fmla="*/ 171450 w 685800"/>
                <a:gd name="connsiteY32" fmla="*/ 1200150 h 1371600"/>
                <a:gd name="connsiteX33" fmla="*/ 257175 w 685800"/>
                <a:gd name="connsiteY33" fmla="*/ 1200150 h 1371600"/>
                <a:gd name="connsiteX34" fmla="*/ 257175 w 685800"/>
                <a:gd name="connsiteY34" fmla="*/ 1285875 h 1371600"/>
                <a:gd name="connsiteX35" fmla="*/ 342900 w 685800"/>
                <a:gd name="connsiteY35" fmla="*/ 1371600 h 1371600"/>
                <a:gd name="connsiteX36" fmla="*/ 428625 w 685800"/>
                <a:gd name="connsiteY36" fmla="*/ 1285875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85800" h="1371600">
                  <a:moveTo>
                    <a:pt x="428625" y="1285875"/>
                  </a:moveTo>
                  <a:lnTo>
                    <a:pt x="428625" y="1200150"/>
                  </a:lnTo>
                  <a:lnTo>
                    <a:pt x="514350" y="1200150"/>
                  </a:lnTo>
                  <a:cubicBezTo>
                    <a:pt x="559815" y="1200150"/>
                    <a:pt x="603443" y="1182086"/>
                    <a:pt x="635590" y="1149940"/>
                  </a:cubicBezTo>
                  <a:cubicBezTo>
                    <a:pt x="667736" y="1117793"/>
                    <a:pt x="685800" y="1074165"/>
                    <a:pt x="685800" y="1028700"/>
                  </a:cubicBezTo>
                  <a:lnTo>
                    <a:pt x="685800" y="771525"/>
                  </a:lnTo>
                  <a:cubicBezTo>
                    <a:pt x="685800" y="726060"/>
                    <a:pt x="667736" y="682432"/>
                    <a:pt x="635590" y="650285"/>
                  </a:cubicBezTo>
                  <a:cubicBezTo>
                    <a:pt x="603443" y="618139"/>
                    <a:pt x="559815" y="600075"/>
                    <a:pt x="514350" y="600075"/>
                  </a:cubicBezTo>
                  <a:lnTo>
                    <a:pt x="171450" y="600075"/>
                  </a:lnTo>
                  <a:lnTo>
                    <a:pt x="171450" y="342900"/>
                  </a:lnTo>
                  <a:lnTo>
                    <a:pt x="514350" y="342900"/>
                  </a:lnTo>
                  <a:cubicBezTo>
                    <a:pt x="514350" y="390240"/>
                    <a:pt x="552735" y="428625"/>
                    <a:pt x="600075" y="428625"/>
                  </a:cubicBezTo>
                  <a:cubicBezTo>
                    <a:pt x="647415" y="428625"/>
                    <a:pt x="685800" y="390240"/>
                    <a:pt x="685800" y="342900"/>
                  </a:cubicBezTo>
                  <a:cubicBezTo>
                    <a:pt x="685800" y="297435"/>
                    <a:pt x="667736" y="253807"/>
                    <a:pt x="635590" y="221660"/>
                  </a:cubicBezTo>
                  <a:cubicBezTo>
                    <a:pt x="603443" y="189514"/>
                    <a:pt x="559815" y="171450"/>
                    <a:pt x="514350" y="171450"/>
                  </a:cubicBezTo>
                  <a:lnTo>
                    <a:pt x="428625" y="171450"/>
                  </a:lnTo>
                  <a:lnTo>
                    <a:pt x="428625" y="85725"/>
                  </a:lnTo>
                  <a:cubicBezTo>
                    <a:pt x="428625" y="38385"/>
                    <a:pt x="390240" y="0"/>
                    <a:pt x="342900" y="0"/>
                  </a:cubicBezTo>
                  <a:cubicBezTo>
                    <a:pt x="295560" y="0"/>
                    <a:pt x="257175" y="38385"/>
                    <a:pt x="257175" y="85725"/>
                  </a:cubicBezTo>
                  <a:lnTo>
                    <a:pt x="257175" y="171450"/>
                  </a:lnTo>
                  <a:lnTo>
                    <a:pt x="171450" y="171450"/>
                  </a:lnTo>
                  <a:cubicBezTo>
                    <a:pt x="125985" y="171450"/>
                    <a:pt x="82357" y="189514"/>
                    <a:pt x="50210" y="221660"/>
                  </a:cubicBezTo>
                  <a:cubicBezTo>
                    <a:pt x="18064" y="253807"/>
                    <a:pt x="0" y="297435"/>
                    <a:pt x="0" y="342900"/>
                  </a:cubicBezTo>
                  <a:lnTo>
                    <a:pt x="0" y="600075"/>
                  </a:lnTo>
                  <a:cubicBezTo>
                    <a:pt x="0" y="645540"/>
                    <a:pt x="18064" y="689168"/>
                    <a:pt x="50210" y="721315"/>
                  </a:cubicBezTo>
                  <a:cubicBezTo>
                    <a:pt x="82357" y="753461"/>
                    <a:pt x="125985" y="771525"/>
                    <a:pt x="171450" y="771525"/>
                  </a:cubicBezTo>
                  <a:lnTo>
                    <a:pt x="514350" y="771525"/>
                  </a:lnTo>
                  <a:lnTo>
                    <a:pt x="514350" y="1028700"/>
                  </a:lnTo>
                  <a:lnTo>
                    <a:pt x="171450" y="1028700"/>
                  </a:lnTo>
                  <a:cubicBezTo>
                    <a:pt x="171450" y="981360"/>
                    <a:pt x="133065" y="942975"/>
                    <a:pt x="85725" y="942975"/>
                  </a:cubicBezTo>
                  <a:cubicBezTo>
                    <a:pt x="38385" y="942975"/>
                    <a:pt x="0" y="981360"/>
                    <a:pt x="0" y="1028700"/>
                  </a:cubicBezTo>
                  <a:cubicBezTo>
                    <a:pt x="0" y="1074165"/>
                    <a:pt x="18064" y="1117793"/>
                    <a:pt x="50210" y="1149940"/>
                  </a:cubicBezTo>
                  <a:cubicBezTo>
                    <a:pt x="82357" y="1182086"/>
                    <a:pt x="125985" y="1200150"/>
                    <a:pt x="171450" y="1200150"/>
                  </a:cubicBezTo>
                  <a:lnTo>
                    <a:pt x="257175" y="1200150"/>
                  </a:lnTo>
                  <a:lnTo>
                    <a:pt x="257175" y="1285875"/>
                  </a:lnTo>
                  <a:cubicBezTo>
                    <a:pt x="257175" y="1333215"/>
                    <a:pt x="295560" y="1371600"/>
                    <a:pt x="342900" y="1371600"/>
                  </a:cubicBezTo>
                  <a:cubicBezTo>
                    <a:pt x="390240" y="1371600"/>
                    <a:pt x="428625" y="1333215"/>
                    <a:pt x="428625" y="128587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8F39A7C5-411B-43DC-8468-58B9486B0909}"/>
                </a:ext>
              </a:extLst>
            </p:cNvPr>
            <p:cNvSpPr/>
            <p:nvPr/>
          </p:nvSpPr>
          <p:spPr>
            <a:xfrm>
              <a:off x="3695682" y="689356"/>
              <a:ext cx="4800596" cy="4111223"/>
            </a:xfrm>
            <a:custGeom>
              <a:avLst/>
              <a:gdLst>
                <a:gd name="connsiteX0" fmla="*/ 4457718 w 4800596"/>
                <a:gd name="connsiteY0" fmla="*/ 3262615 h 4111223"/>
                <a:gd name="connsiteX1" fmla="*/ 4457718 w 4800596"/>
                <a:gd name="connsiteY1" fmla="*/ 2653968 h 4111223"/>
                <a:gd name="connsiteX2" fmla="*/ 4432613 w 4800596"/>
                <a:gd name="connsiteY2" fmla="*/ 2593348 h 4111223"/>
                <a:gd name="connsiteX3" fmla="*/ 4371993 w 4800596"/>
                <a:gd name="connsiteY3" fmla="*/ 2568243 h 4111223"/>
                <a:gd name="connsiteX4" fmla="*/ 2486043 w 4800596"/>
                <a:gd name="connsiteY4" fmla="*/ 2568243 h 4111223"/>
                <a:gd name="connsiteX5" fmla="*/ 2486043 w 4800596"/>
                <a:gd name="connsiteY5" fmla="*/ 2053893 h 4111223"/>
                <a:gd name="connsiteX6" fmla="*/ 3318418 w 4800596"/>
                <a:gd name="connsiteY6" fmla="*/ 1492810 h 4111223"/>
                <a:gd name="connsiteX7" fmla="*/ 3276551 w 4800596"/>
                <a:gd name="connsiteY7" fmla="*/ 489779 h 4111223"/>
                <a:gd name="connsiteX8" fmla="*/ 2400314 w 4800596"/>
                <a:gd name="connsiteY8" fmla="*/ 0 h 4111223"/>
                <a:gd name="connsiteX9" fmla="*/ 1524077 w 4800596"/>
                <a:gd name="connsiteY9" fmla="*/ 489779 h 4111223"/>
                <a:gd name="connsiteX10" fmla="*/ 1482210 w 4800596"/>
                <a:gd name="connsiteY10" fmla="*/ 1492810 h 4111223"/>
                <a:gd name="connsiteX11" fmla="*/ 2314585 w 4800596"/>
                <a:gd name="connsiteY11" fmla="*/ 2053893 h 4111223"/>
                <a:gd name="connsiteX12" fmla="*/ 2314585 w 4800596"/>
                <a:gd name="connsiteY12" fmla="*/ 2568243 h 4111223"/>
                <a:gd name="connsiteX13" fmla="*/ 428635 w 4800596"/>
                <a:gd name="connsiteY13" fmla="*/ 2568243 h 4111223"/>
                <a:gd name="connsiteX14" fmla="*/ 342910 w 4800596"/>
                <a:gd name="connsiteY14" fmla="*/ 2653968 h 4111223"/>
                <a:gd name="connsiteX15" fmla="*/ 342910 w 4800596"/>
                <a:gd name="connsiteY15" fmla="*/ 3262615 h 4111223"/>
                <a:gd name="connsiteX16" fmla="*/ 32076 w 4800596"/>
                <a:gd name="connsiteY16" fmla="*/ 3519869 h 4111223"/>
                <a:gd name="connsiteX17" fmla="*/ 72642 w 4800596"/>
                <a:gd name="connsiteY17" fmla="*/ 3921326 h 4111223"/>
                <a:gd name="connsiteX18" fmla="*/ 428631 w 4800596"/>
                <a:gd name="connsiteY18" fmla="*/ 4111224 h 4111223"/>
                <a:gd name="connsiteX19" fmla="*/ 784620 w 4800596"/>
                <a:gd name="connsiteY19" fmla="*/ 3921326 h 4111223"/>
                <a:gd name="connsiteX20" fmla="*/ 825186 w 4800596"/>
                <a:gd name="connsiteY20" fmla="*/ 3519869 h 4111223"/>
                <a:gd name="connsiteX21" fmla="*/ 514352 w 4800596"/>
                <a:gd name="connsiteY21" fmla="*/ 3262615 h 4111223"/>
                <a:gd name="connsiteX22" fmla="*/ 514352 w 4800596"/>
                <a:gd name="connsiteY22" fmla="*/ 2739693 h 4111223"/>
                <a:gd name="connsiteX23" fmla="*/ 2314577 w 4800596"/>
                <a:gd name="connsiteY23" fmla="*/ 2739693 h 4111223"/>
                <a:gd name="connsiteX24" fmla="*/ 2314577 w 4800596"/>
                <a:gd name="connsiteY24" fmla="*/ 3262615 h 4111223"/>
                <a:gd name="connsiteX25" fmla="*/ 2003743 w 4800596"/>
                <a:gd name="connsiteY25" fmla="*/ 3519869 h 4111223"/>
                <a:gd name="connsiteX26" fmla="*/ 2044309 w 4800596"/>
                <a:gd name="connsiteY26" fmla="*/ 3921326 h 4111223"/>
                <a:gd name="connsiteX27" fmla="*/ 2400298 w 4800596"/>
                <a:gd name="connsiteY27" fmla="*/ 4111224 h 4111223"/>
                <a:gd name="connsiteX28" fmla="*/ 2756287 w 4800596"/>
                <a:gd name="connsiteY28" fmla="*/ 3921326 h 4111223"/>
                <a:gd name="connsiteX29" fmla="*/ 2796853 w 4800596"/>
                <a:gd name="connsiteY29" fmla="*/ 3519869 h 4111223"/>
                <a:gd name="connsiteX30" fmla="*/ 2486019 w 4800596"/>
                <a:gd name="connsiteY30" fmla="*/ 3262615 h 4111223"/>
                <a:gd name="connsiteX31" fmla="*/ 2486019 w 4800596"/>
                <a:gd name="connsiteY31" fmla="*/ 2739693 h 4111223"/>
                <a:gd name="connsiteX32" fmla="*/ 4286245 w 4800596"/>
                <a:gd name="connsiteY32" fmla="*/ 2739693 h 4111223"/>
                <a:gd name="connsiteX33" fmla="*/ 4286245 w 4800596"/>
                <a:gd name="connsiteY33" fmla="*/ 3262615 h 4111223"/>
                <a:gd name="connsiteX34" fmla="*/ 3975410 w 4800596"/>
                <a:gd name="connsiteY34" fmla="*/ 3519869 h 4111223"/>
                <a:gd name="connsiteX35" fmla="*/ 4015976 w 4800596"/>
                <a:gd name="connsiteY35" fmla="*/ 3921326 h 4111223"/>
                <a:gd name="connsiteX36" fmla="*/ 4371965 w 4800596"/>
                <a:gd name="connsiteY36" fmla="*/ 4111224 h 4111223"/>
                <a:gd name="connsiteX37" fmla="*/ 4727954 w 4800596"/>
                <a:gd name="connsiteY37" fmla="*/ 3921326 h 4111223"/>
                <a:gd name="connsiteX38" fmla="*/ 4768521 w 4800596"/>
                <a:gd name="connsiteY38" fmla="*/ 3519869 h 4111223"/>
                <a:gd name="connsiteX39" fmla="*/ 4457687 w 4800596"/>
                <a:gd name="connsiteY39" fmla="*/ 3262615 h 4111223"/>
                <a:gd name="connsiteX40" fmla="*/ 1543068 w 4800596"/>
                <a:gd name="connsiteY40" fmla="*/ 1025144 h 4111223"/>
                <a:gd name="connsiteX41" fmla="*/ 1794159 w 4800596"/>
                <a:gd name="connsiteY41" fmla="*/ 418985 h 4111223"/>
                <a:gd name="connsiteX42" fmla="*/ 2400318 w 4800596"/>
                <a:gd name="connsiteY42" fmla="*/ 167894 h 4111223"/>
                <a:gd name="connsiteX43" fmla="*/ 3006477 w 4800596"/>
                <a:gd name="connsiteY43" fmla="*/ 418985 h 4111223"/>
                <a:gd name="connsiteX44" fmla="*/ 3257568 w 4800596"/>
                <a:gd name="connsiteY44" fmla="*/ 1025144 h 4111223"/>
                <a:gd name="connsiteX45" fmla="*/ 3006477 w 4800596"/>
                <a:gd name="connsiteY45" fmla="*/ 1631303 h 4111223"/>
                <a:gd name="connsiteX46" fmla="*/ 2400318 w 4800596"/>
                <a:gd name="connsiteY46" fmla="*/ 1882394 h 4111223"/>
                <a:gd name="connsiteX47" fmla="*/ 1794159 w 4800596"/>
                <a:gd name="connsiteY47" fmla="*/ 1631303 h 4111223"/>
                <a:gd name="connsiteX48" fmla="*/ 1543068 w 4800596"/>
                <a:gd name="connsiteY48" fmla="*/ 1025144 h 4111223"/>
                <a:gd name="connsiteX49" fmla="*/ 685818 w 4800596"/>
                <a:gd name="connsiteY49" fmla="*/ 3682619 h 4111223"/>
                <a:gd name="connsiteX50" fmla="*/ 610502 w 4800596"/>
                <a:gd name="connsiteY50" fmla="*/ 3864473 h 4111223"/>
                <a:gd name="connsiteX51" fmla="*/ 428648 w 4800596"/>
                <a:gd name="connsiteY51" fmla="*/ 3939789 h 4111223"/>
                <a:gd name="connsiteX52" fmla="*/ 246793 w 4800596"/>
                <a:gd name="connsiteY52" fmla="*/ 3864473 h 4111223"/>
                <a:gd name="connsiteX53" fmla="*/ 171477 w 4800596"/>
                <a:gd name="connsiteY53" fmla="*/ 3682619 h 4111223"/>
                <a:gd name="connsiteX54" fmla="*/ 246793 w 4800596"/>
                <a:gd name="connsiteY54" fmla="*/ 3500764 h 4111223"/>
                <a:gd name="connsiteX55" fmla="*/ 428648 w 4800596"/>
                <a:gd name="connsiteY55" fmla="*/ 3425449 h 4111223"/>
                <a:gd name="connsiteX56" fmla="*/ 610502 w 4800596"/>
                <a:gd name="connsiteY56" fmla="*/ 3500764 h 4111223"/>
                <a:gd name="connsiteX57" fmla="*/ 685818 w 4800596"/>
                <a:gd name="connsiteY57" fmla="*/ 3682619 h 4111223"/>
                <a:gd name="connsiteX58" fmla="*/ 2657493 w 4800596"/>
                <a:gd name="connsiteY58" fmla="*/ 3682619 h 4111223"/>
                <a:gd name="connsiteX59" fmla="*/ 2582177 w 4800596"/>
                <a:gd name="connsiteY59" fmla="*/ 3864473 h 4111223"/>
                <a:gd name="connsiteX60" fmla="*/ 2400323 w 4800596"/>
                <a:gd name="connsiteY60" fmla="*/ 3939789 h 4111223"/>
                <a:gd name="connsiteX61" fmla="*/ 2218468 w 4800596"/>
                <a:gd name="connsiteY61" fmla="*/ 3864473 h 4111223"/>
                <a:gd name="connsiteX62" fmla="*/ 2143153 w 4800596"/>
                <a:gd name="connsiteY62" fmla="*/ 3682619 h 4111223"/>
                <a:gd name="connsiteX63" fmla="*/ 2218468 w 4800596"/>
                <a:gd name="connsiteY63" fmla="*/ 3500764 h 4111223"/>
                <a:gd name="connsiteX64" fmla="*/ 2400323 w 4800596"/>
                <a:gd name="connsiteY64" fmla="*/ 3425449 h 4111223"/>
                <a:gd name="connsiteX65" fmla="*/ 2582177 w 4800596"/>
                <a:gd name="connsiteY65" fmla="*/ 3500764 h 4111223"/>
                <a:gd name="connsiteX66" fmla="*/ 2657493 w 4800596"/>
                <a:gd name="connsiteY66" fmla="*/ 3682619 h 4111223"/>
                <a:gd name="connsiteX67" fmla="*/ 4371993 w 4800596"/>
                <a:gd name="connsiteY67" fmla="*/ 3939794 h 4111223"/>
                <a:gd name="connsiteX68" fmla="*/ 4190138 w 4800596"/>
                <a:gd name="connsiteY68" fmla="*/ 3864478 h 4111223"/>
                <a:gd name="connsiteX69" fmla="*/ 4114823 w 4800596"/>
                <a:gd name="connsiteY69" fmla="*/ 3682624 h 4111223"/>
                <a:gd name="connsiteX70" fmla="*/ 4190138 w 4800596"/>
                <a:gd name="connsiteY70" fmla="*/ 3500769 h 4111223"/>
                <a:gd name="connsiteX71" fmla="*/ 4371993 w 4800596"/>
                <a:gd name="connsiteY71" fmla="*/ 3425454 h 4111223"/>
                <a:gd name="connsiteX72" fmla="*/ 4553848 w 4800596"/>
                <a:gd name="connsiteY72" fmla="*/ 3500769 h 4111223"/>
                <a:gd name="connsiteX73" fmla="*/ 4629163 w 4800596"/>
                <a:gd name="connsiteY73" fmla="*/ 3682624 h 4111223"/>
                <a:gd name="connsiteX74" fmla="*/ 4553848 w 4800596"/>
                <a:gd name="connsiteY74" fmla="*/ 3864478 h 4111223"/>
                <a:gd name="connsiteX75" fmla="*/ 4371993 w 4800596"/>
                <a:gd name="connsiteY75" fmla="*/ 3939794 h 411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800596" h="4111223">
                  <a:moveTo>
                    <a:pt x="4457718" y="3262615"/>
                  </a:moveTo>
                  <a:lnTo>
                    <a:pt x="4457718" y="2653968"/>
                  </a:lnTo>
                  <a:cubicBezTo>
                    <a:pt x="4457718" y="2631235"/>
                    <a:pt x="4448686" y="2609421"/>
                    <a:pt x="4432613" y="2593348"/>
                  </a:cubicBezTo>
                  <a:cubicBezTo>
                    <a:pt x="4416539" y="2577275"/>
                    <a:pt x="4394725" y="2568243"/>
                    <a:pt x="4371993" y="2568243"/>
                  </a:cubicBezTo>
                  <a:lnTo>
                    <a:pt x="2486043" y="2568243"/>
                  </a:lnTo>
                  <a:lnTo>
                    <a:pt x="2486043" y="2053893"/>
                  </a:lnTo>
                  <a:cubicBezTo>
                    <a:pt x="2842110" y="2024118"/>
                    <a:pt x="3157225" y="1811678"/>
                    <a:pt x="3318418" y="1492810"/>
                  </a:cubicBezTo>
                  <a:cubicBezTo>
                    <a:pt x="3479610" y="1173904"/>
                    <a:pt x="3463729" y="794186"/>
                    <a:pt x="3276551" y="489779"/>
                  </a:cubicBezTo>
                  <a:cubicBezTo>
                    <a:pt x="3089376" y="185421"/>
                    <a:pt x="2757645" y="0"/>
                    <a:pt x="2400314" y="0"/>
                  </a:cubicBezTo>
                  <a:cubicBezTo>
                    <a:pt x="2042983" y="0"/>
                    <a:pt x="1711261" y="185421"/>
                    <a:pt x="1524077" y="489779"/>
                  </a:cubicBezTo>
                  <a:cubicBezTo>
                    <a:pt x="1336903" y="794137"/>
                    <a:pt x="1321012" y="1173855"/>
                    <a:pt x="1482210" y="1492810"/>
                  </a:cubicBezTo>
                  <a:cubicBezTo>
                    <a:pt x="1643402" y="1811678"/>
                    <a:pt x="1958518" y="2024109"/>
                    <a:pt x="2314585" y="2053893"/>
                  </a:cubicBezTo>
                  <a:lnTo>
                    <a:pt x="2314585" y="2568243"/>
                  </a:lnTo>
                  <a:lnTo>
                    <a:pt x="428635" y="2568243"/>
                  </a:lnTo>
                  <a:cubicBezTo>
                    <a:pt x="381295" y="2568243"/>
                    <a:pt x="342910" y="2606628"/>
                    <a:pt x="342910" y="2653968"/>
                  </a:cubicBezTo>
                  <a:lnTo>
                    <a:pt x="342910" y="3262615"/>
                  </a:lnTo>
                  <a:cubicBezTo>
                    <a:pt x="202879" y="3291203"/>
                    <a:pt x="86342" y="3387686"/>
                    <a:pt x="32076" y="3519869"/>
                  </a:cubicBezTo>
                  <a:cubicBezTo>
                    <a:pt x="-22153" y="3652091"/>
                    <a:pt x="-6960" y="3802604"/>
                    <a:pt x="72642" y="3921326"/>
                  </a:cubicBezTo>
                  <a:cubicBezTo>
                    <a:pt x="152244" y="4039999"/>
                    <a:pt x="285730" y="4111224"/>
                    <a:pt x="428631" y="4111224"/>
                  </a:cubicBezTo>
                  <a:cubicBezTo>
                    <a:pt x="571532" y="4111224"/>
                    <a:pt x="705018" y="4040004"/>
                    <a:pt x="784620" y="3921326"/>
                  </a:cubicBezTo>
                  <a:cubicBezTo>
                    <a:pt x="864222" y="3802614"/>
                    <a:pt x="879415" y="3652101"/>
                    <a:pt x="825186" y="3519869"/>
                  </a:cubicBezTo>
                  <a:cubicBezTo>
                    <a:pt x="770919" y="3387686"/>
                    <a:pt x="654383" y="3291203"/>
                    <a:pt x="514352" y="3262615"/>
                  </a:cubicBezTo>
                  <a:lnTo>
                    <a:pt x="514352" y="2739693"/>
                  </a:lnTo>
                  <a:lnTo>
                    <a:pt x="2314577" y="2739693"/>
                  </a:lnTo>
                  <a:lnTo>
                    <a:pt x="2314577" y="3262615"/>
                  </a:lnTo>
                  <a:cubicBezTo>
                    <a:pt x="2174547" y="3291203"/>
                    <a:pt x="2058009" y="3387686"/>
                    <a:pt x="2003743" y="3519869"/>
                  </a:cubicBezTo>
                  <a:cubicBezTo>
                    <a:pt x="1949514" y="3652091"/>
                    <a:pt x="1964707" y="3802604"/>
                    <a:pt x="2044309" y="3921326"/>
                  </a:cubicBezTo>
                  <a:cubicBezTo>
                    <a:pt x="2123911" y="4039999"/>
                    <a:pt x="2257397" y="4111224"/>
                    <a:pt x="2400298" y="4111224"/>
                  </a:cubicBezTo>
                  <a:cubicBezTo>
                    <a:pt x="2543199" y="4111224"/>
                    <a:pt x="2676686" y="4040004"/>
                    <a:pt x="2756287" y="3921326"/>
                  </a:cubicBezTo>
                  <a:cubicBezTo>
                    <a:pt x="2835889" y="3802614"/>
                    <a:pt x="2851082" y="3652101"/>
                    <a:pt x="2796853" y="3519869"/>
                  </a:cubicBezTo>
                  <a:cubicBezTo>
                    <a:pt x="2742586" y="3387686"/>
                    <a:pt x="2626050" y="3291203"/>
                    <a:pt x="2486019" y="3262615"/>
                  </a:cubicBezTo>
                  <a:lnTo>
                    <a:pt x="2486019" y="2739693"/>
                  </a:lnTo>
                  <a:lnTo>
                    <a:pt x="4286245" y="2739693"/>
                  </a:lnTo>
                  <a:lnTo>
                    <a:pt x="4286245" y="3262615"/>
                  </a:lnTo>
                  <a:cubicBezTo>
                    <a:pt x="4146214" y="3291203"/>
                    <a:pt x="4029676" y="3387686"/>
                    <a:pt x="3975410" y="3519869"/>
                  </a:cubicBezTo>
                  <a:cubicBezTo>
                    <a:pt x="3921181" y="3652091"/>
                    <a:pt x="3936375" y="3802604"/>
                    <a:pt x="4015976" y="3921326"/>
                  </a:cubicBezTo>
                  <a:cubicBezTo>
                    <a:pt x="4095578" y="4039999"/>
                    <a:pt x="4229064" y="4111224"/>
                    <a:pt x="4371965" y="4111224"/>
                  </a:cubicBezTo>
                  <a:cubicBezTo>
                    <a:pt x="4514867" y="4111224"/>
                    <a:pt x="4648353" y="4040004"/>
                    <a:pt x="4727954" y="3921326"/>
                  </a:cubicBezTo>
                  <a:cubicBezTo>
                    <a:pt x="4807556" y="3802614"/>
                    <a:pt x="4822749" y="3652101"/>
                    <a:pt x="4768521" y="3519869"/>
                  </a:cubicBezTo>
                  <a:cubicBezTo>
                    <a:pt x="4714253" y="3387686"/>
                    <a:pt x="4597717" y="3291203"/>
                    <a:pt x="4457687" y="3262615"/>
                  </a:cubicBezTo>
                  <a:close/>
                  <a:moveTo>
                    <a:pt x="1543068" y="1025144"/>
                  </a:moveTo>
                  <a:cubicBezTo>
                    <a:pt x="1543068" y="797781"/>
                    <a:pt x="1633386" y="579756"/>
                    <a:pt x="1794159" y="418985"/>
                  </a:cubicBezTo>
                  <a:cubicBezTo>
                    <a:pt x="1954932" y="258214"/>
                    <a:pt x="2172956" y="167894"/>
                    <a:pt x="2400318" y="167894"/>
                  </a:cubicBezTo>
                  <a:cubicBezTo>
                    <a:pt x="2627680" y="167894"/>
                    <a:pt x="2845706" y="258212"/>
                    <a:pt x="3006477" y="418985"/>
                  </a:cubicBezTo>
                  <a:cubicBezTo>
                    <a:pt x="3167248" y="579758"/>
                    <a:pt x="3257568" y="797781"/>
                    <a:pt x="3257568" y="1025144"/>
                  </a:cubicBezTo>
                  <a:cubicBezTo>
                    <a:pt x="3257568" y="1252506"/>
                    <a:pt x="3167250" y="1470532"/>
                    <a:pt x="3006477" y="1631303"/>
                  </a:cubicBezTo>
                  <a:cubicBezTo>
                    <a:pt x="2845704" y="1792074"/>
                    <a:pt x="2627680" y="1882394"/>
                    <a:pt x="2400318" y="1882394"/>
                  </a:cubicBezTo>
                  <a:cubicBezTo>
                    <a:pt x="2172956" y="1882394"/>
                    <a:pt x="1954930" y="1792076"/>
                    <a:pt x="1794159" y="1631303"/>
                  </a:cubicBezTo>
                  <a:cubicBezTo>
                    <a:pt x="1633388" y="1470530"/>
                    <a:pt x="1543068" y="1252506"/>
                    <a:pt x="1543068" y="1025144"/>
                  </a:cubicBezTo>
                  <a:close/>
                  <a:moveTo>
                    <a:pt x="685818" y="3682619"/>
                  </a:moveTo>
                  <a:cubicBezTo>
                    <a:pt x="685818" y="3750816"/>
                    <a:pt x="658723" y="3816262"/>
                    <a:pt x="610502" y="3864473"/>
                  </a:cubicBezTo>
                  <a:cubicBezTo>
                    <a:pt x="562282" y="3912685"/>
                    <a:pt x="496836" y="3939789"/>
                    <a:pt x="428648" y="3939789"/>
                  </a:cubicBezTo>
                  <a:cubicBezTo>
                    <a:pt x="360459" y="3939789"/>
                    <a:pt x="295005" y="3912694"/>
                    <a:pt x="246793" y="3864473"/>
                  </a:cubicBezTo>
                  <a:cubicBezTo>
                    <a:pt x="198581" y="3816253"/>
                    <a:pt x="171477" y="3750807"/>
                    <a:pt x="171477" y="3682619"/>
                  </a:cubicBezTo>
                  <a:cubicBezTo>
                    <a:pt x="171477" y="3614431"/>
                    <a:pt x="198572" y="3548976"/>
                    <a:pt x="246793" y="3500764"/>
                  </a:cubicBezTo>
                  <a:cubicBezTo>
                    <a:pt x="295014" y="3452552"/>
                    <a:pt x="360459" y="3425449"/>
                    <a:pt x="428648" y="3425449"/>
                  </a:cubicBezTo>
                  <a:cubicBezTo>
                    <a:pt x="496836" y="3425449"/>
                    <a:pt x="562290" y="3452544"/>
                    <a:pt x="610502" y="3500764"/>
                  </a:cubicBezTo>
                  <a:cubicBezTo>
                    <a:pt x="658714" y="3548985"/>
                    <a:pt x="685818" y="3614431"/>
                    <a:pt x="685818" y="3682619"/>
                  </a:cubicBezTo>
                  <a:close/>
                  <a:moveTo>
                    <a:pt x="2657493" y="3682619"/>
                  </a:moveTo>
                  <a:cubicBezTo>
                    <a:pt x="2657493" y="3750816"/>
                    <a:pt x="2630398" y="3816262"/>
                    <a:pt x="2582177" y="3864473"/>
                  </a:cubicBezTo>
                  <a:cubicBezTo>
                    <a:pt x="2533957" y="3912685"/>
                    <a:pt x="2468511" y="3939789"/>
                    <a:pt x="2400323" y="3939789"/>
                  </a:cubicBezTo>
                  <a:cubicBezTo>
                    <a:pt x="2332135" y="3939789"/>
                    <a:pt x="2266680" y="3912694"/>
                    <a:pt x="2218468" y="3864473"/>
                  </a:cubicBezTo>
                  <a:cubicBezTo>
                    <a:pt x="2170256" y="3816253"/>
                    <a:pt x="2143153" y="3750807"/>
                    <a:pt x="2143153" y="3682619"/>
                  </a:cubicBezTo>
                  <a:cubicBezTo>
                    <a:pt x="2143153" y="3614431"/>
                    <a:pt x="2170248" y="3548976"/>
                    <a:pt x="2218468" y="3500764"/>
                  </a:cubicBezTo>
                  <a:cubicBezTo>
                    <a:pt x="2266689" y="3452552"/>
                    <a:pt x="2332135" y="3425449"/>
                    <a:pt x="2400323" y="3425449"/>
                  </a:cubicBezTo>
                  <a:cubicBezTo>
                    <a:pt x="2468511" y="3425449"/>
                    <a:pt x="2533966" y="3452544"/>
                    <a:pt x="2582177" y="3500764"/>
                  </a:cubicBezTo>
                  <a:cubicBezTo>
                    <a:pt x="2630389" y="3548985"/>
                    <a:pt x="2657493" y="3614431"/>
                    <a:pt x="2657493" y="3682619"/>
                  </a:cubicBezTo>
                  <a:close/>
                  <a:moveTo>
                    <a:pt x="4371993" y="3939794"/>
                  </a:moveTo>
                  <a:cubicBezTo>
                    <a:pt x="4303796" y="3939794"/>
                    <a:pt x="4238350" y="3912699"/>
                    <a:pt x="4190138" y="3864478"/>
                  </a:cubicBezTo>
                  <a:cubicBezTo>
                    <a:pt x="4141927" y="3816258"/>
                    <a:pt x="4114823" y="3750812"/>
                    <a:pt x="4114823" y="3682624"/>
                  </a:cubicBezTo>
                  <a:cubicBezTo>
                    <a:pt x="4114823" y="3614436"/>
                    <a:pt x="4141918" y="3548981"/>
                    <a:pt x="4190138" y="3500769"/>
                  </a:cubicBezTo>
                  <a:cubicBezTo>
                    <a:pt x="4238359" y="3452557"/>
                    <a:pt x="4303805" y="3425454"/>
                    <a:pt x="4371993" y="3425454"/>
                  </a:cubicBezTo>
                  <a:cubicBezTo>
                    <a:pt x="4440181" y="3425454"/>
                    <a:pt x="4505636" y="3452549"/>
                    <a:pt x="4553848" y="3500769"/>
                  </a:cubicBezTo>
                  <a:cubicBezTo>
                    <a:pt x="4602059" y="3548990"/>
                    <a:pt x="4629163" y="3614436"/>
                    <a:pt x="4629163" y="3682624"/>
                  </a:cubicBezTo>
                  <a:cubicBezTo>
                    <a:pt x="4629163" y="3750812"/>
                    <a:pt x="4602068" y="3816267"/>
                    <a:pt x="4553848" y="3864478"/>
                  </a:cubicBezTo>
                  <a:cubicBezTo>
                    <a:pt x="4505627" y="3912690"/>
                    <a:pt x="4440181" y="3939794"/>
                    <a:pt x="4371993" y="393979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grpSp>
      <p:sp>
        <p:nvSpPr>
          <p:cNvPr id="67" name="Freeform 3">
            <a:extLst>
              <a:ext uri="{FF2B5EF4-FFF2-40B4-BE49-F238E27FC236}">
                <a16:creationId xmlns:a16="http://schemas.microsoft.com/office/drawing/2014/main" id="{47A52152-1A37-4BEF-972C-8B0C961412CE}"/>
              </a:ext>
            </a:extLst>
          </p:cNvPr>
          <p:cNvSpPr/>
          <p:nvPr/>
        </p:nvSpPr>
        <p:spPr>
          <a:xfrm>
            <a:off x="4617416" y="5312502"/>
            <a:ext cx="499529" cy="460451"/>
          </a:xfrm>
          <a:custGeom>
            <a:avLst/>
            <a:gdLst>
              <a:gd name="connsiteX0" fmla="*/ 3443011 w 3477018"/>
              <a:gd name="connsiteY0" fmla="*/ 597794 h 2841503"/>
              <a:gd name="connsiteX1" fmla="*/ 2383927 w 3477018"/>
              <a:gd name="connsiteY1" fmla="*/ 1356937 h 2841503"/>
              <a:gd name="connsiteX2" fmla="*/ 2349351 w 3477018"/>
              <a:gd name="connsiteY2" fmla="*/ 1375987 h 2841503"/>
              <a:gd name="connsiteX3" fmla="*/ 2312203 w 3477018"/>
              <a:gd name="connsiteY3" fmla="*/ 1362652 h 2841503"/>
              <a:gd name="connsiteX4" fmla="*/ 2146945 w 3477018"/>
              <a:gd name="connsiteY4" fmla="*/ 1201679 h 2841503"/>
              <a:gd name="connsiteX5" fmla="*/ 2608907 w 3477018"/>
              <a:gd name="connsiteY5" fmla="*/ 592079 h 2841503"/>
              <a:gd name="connsiteX6" fmla="*/ 2411835 w 3477018"/>
              <a:gd name="connsiteY6" fmla="*/ 48583 h 2841503"/>
              <a:gd name="connsiteX7" fmla="*/ 2264483 w 3477018"/>
              <a:gd name="connsiteY7" fmla="*/ 1529 h 2841503"/>
              <a:gd name="connsiteX8" fmla="*/ 2128180 w 3477018"/>
              <a:gd name="connsiteY8" fmla="*/ 19150 h 2841503"/>
              <a:gd name="connsiteX9" fmla="*/ 1971018 w 3477018"/>
              <a:gd name="connsiteY9" fmla="*/ 167931 h 2841503"/>
              <a:gd name="connsiteX10" fmla="*/ 1883674 w 3477018"/>
              <a:gd name="connsiteY10" fmla="*/ 637418 h 2841503"/>
              <a:gd name="connsiteX11" fmla="*/ 1855765 w 3477018"/>
              <a:gd name="connsiteY11" fmla="*/ 689520 h 2841503"/>
              <a:gd name="connsiteX12" fmla="*/ 1739084 w 3477018"/>
              <a:gd name="connsiteY12" fmla="*/ 803820 h 2841503"/>
              <a:gd name="connsiteX13" fmla="*/ 1622403 w 3477018"/>
              <a:gd name="connsiteY13" fmla="*/ 689520 h 2841503"/>
              <a:gd name="connsiteX14" fmla="*/ 1594590 w 3477018"/>
              <a:gd name="connsiteY14" fmla="*/ 637418 h 2841503"/>
              <a:gd name="connsiteX15" fmla="*/ 1507246 w 3477018"/>
              <a:gd name="connsiteY15" fmla="*/ 167931 h 2841503"/>
              <a:gd name="connsiteX16" fmla="*/ 1350083 w 3477018"/>
              <a:gd name="connsiteY16" fmla="*/ 19150 h 2841503"/>
              <a:gd name="connsiteX17" fmla="*/ 1213685 w 3477018"/>
              <a:gd name="connsiteY17" fmla="*/ 1529 h 2841503"/>
              <a:gd name="connsiteX18" fmla="*/ 1066429 w 3477018"/>
              <a:gd name="connsiteY18" fmla="*/ 47916 h 2841503"/>
              <a:gd name="connsiteX19" fmla="*/ 869356 w 3477018"/>
              <a:gd name="connsiteY19" fmla="*/ 591412 h 2841503"/>
              <a:gd name="connsiteX20" fmla="*/ 1331319 w 3477018"/>
              <a:gd name="connsiteY20" fmla="*/ 1201012 h 2841503"/>
              <a:gd name="connsiteX21" fmla="*/ 1166060 w 3477018"/>
              <a:gd name="connsiteY21" fmla="*/ 1362366 h 2841503"/>
              <a:gd name="connsiteX22" fmla="*/ 1128913 w 3477018"/>
              <a:gd name="connsiteY22" fmla="*/ 1375701 h 2841503"/>
              <a:gd name="connsiteX23" fmla="*/ 1094337 w 3477018"/>
              <a:gd name="connsiteY23" fmla="*/ 1356651 h 2841503"/>
              <a:gd name="connsiteX24" fmla="*/ 35157 w 3477018"/>
              <a:gd name="connsiteY24" fmla="*/ 597508 h 2841503"/>
              <a:gd name="connsiteX25" fmla="*/ 1343 w 3477018"/>
              <a:gd name="connsiteY25" fmla="*/ 654658 h 2841503"/>
              <a:gd name="connsiteX26" fmla="*/ 58493 w 3477018"/>
              <a:gd name="connsiteY26" fmla="*/ 689615 h 2841503"/>
              <a:gd name="connsiteX27" fmla="*/ 1017565 w 3477018"/>
              <a:gd name="connsiteY27" fmla="*/ 1412658 h 2841503"/>
              <a:gd name="connsiteX28" fmla="*/ 1217282 w 3477018"/>
              <a:gd name="connsiteY28" fmla="*/ 1443315 h 2841503"/>
              <a:gd name="connsiteX29" fmla="*/ 1232449 w 3477018"/>
              <a:gd name="connsiteY29" fmla="*/ 1430470 h 2841503"/>
              <a:gd name="connsiteX30" fmla="*/ 1922155 w 3477018"/>
              <a:gd name="connsiteY30" fmla="*/ 757147 h 2841503"/>
              <a:gd name="connsiteX31" fmla="*/ 1977400 w 3477018"/>
              <a:gd name="connsiteY31" fmla="*/ 654849 h 2841503"/>
              <a:gd name="connsiteX32" fmla="*/ 2064744 w 3477018"/>
              <a:gd name="connsiteY32" fmla="*/ 185266 h 2841503"/>
              <a:gd name="connsiteX33" fmla="*/ 2140944 w 3477018"/>
              <a:gd name="connsiteY33" fmla="*/ 113543 h 2841503"/>
              <a:gd name="connsiteX34" fmla="*/ 2277247 w 3477018"/>
              <a:gd name="connsiteY34" fmla="*/ 95922 h 2841503"/>
              <a:gd name="connsiteX35" fmla="*/ 2348399 w 3477018"/>
              <a:gd name="connsiteY35" fmla="*/ 118401 h 2841503"/>
              <a:gd name="connsiteX36" fmla="*/ 2526707 w 3477018"/>
              <a:gd name="connsiteY36" fmla="*/ 544359 h 2841503"/>
              <a:gd name="connsiteX37" fmla="*/ 2049599 w 3477018"/>
              <a:gd name="connsiteY37" fmla="*/ 1171390 h 2841503"/>
              <a:gd name="connsiteX38" fmla="*/ 2048932 w 3477018"/>
              <a:gd name="connsiteY38" fmla="*/ 1171866 h 2841503"/>
              <a:gd name="connsiteX39" fmla="*/ 2047694 w 3477018"/>
              <a:gd name="connsiteY39" fmla="*/ 1173771 h 2841503"/>
              <a:gd name="connsiteX40" fmla="*/ 1368466 w 3477018"/>
              <a:gd name="connsiteY40" fmla="*/ 2003875 h 2841503"/>
              <a:gd name="connsiteX41" fmla="*/ 942127 w 3477018"/>
              <a:gd name="connsiteY41" fmla="*/ 2064930 h 2841503"/>
              <a:gd name="connsiteX42" fmla="*/ 107071 w 3477018"/>
              <a:gd name="connsiteY42" fmla="*/ 1501431 h 2841503"/>
              <a:gd name="connsiteX43" fmla="*/ 40975 w 3477018"/>
              <a:gd name="connsiteY43" fmla="*/ 1514377 h 2841503"/>
              <a:gd name="connsiteX44" fmla="*/ 32871 w 3477018"/>
              <a:gd name="connsiteY44" fmla="*/ 1540865 h 2841503"/>
              <a:gd name="connsiteX45" fmla="*/ 32871 w 3477018"/>
              <a:gd name="connsiteY45" fmla="*/ 2793878 h 2841503"/>
              <a:gd name="connsiteX46" fmla="*/ 80496 w 3477018"/>
              <a:gd name="connsiteY46" fmla="*/ 2841503 h 2841503"/>
              <a:gd name="connsiteX47" fmla="*/ 128121 w 3477018"/>
              <a:gd name="connsiteY47" fmla="*/ 2793878 h 2841503"/>
              <a:gd name="connsiteX48" fmla="*/ 128121 w 3477018"/>
              <a:gd name="connsiteY48" fmla="*/ 1630304 h 2841503"/>
              <a:gd name="connsiteX49" fmla="*/ 888406 w 3477018"/>
              <a:gd name="connsiteY49" fmla="*/ 2143702 h 2841503"/>
              <a:gd name="connsiteX50" fmla="*/ 1440856 w 3477018"/>
              <a:gd name="connsiteY50" fmla="*/ 2064549 h 2841503"/>
              <a:gd name="connsiteX51" fmla="*/ 1738798 w 3477018"/>
              <a:gd name="connsiteY51" fmla="*/ 1703361 h 2841503"/>
              <a:gd name="connsiteX52" fmla="*/ 2036835 w 3477018"/>
              <a:gd name="connsiteY52" fmla="*/ 2064549 h 2841503"/>
              <a:gd name="connsiteX53" fmla="*/ 2589286 w 3477018"/>
              <a:gd name="connsiteY53" fmla="*/ 2143702 h 2841503"/>
              <a:gd name="connsiteX54" fmla="*/ 3350238 w 3477018"/>
              <a:gd name="connsiteY54" fmla="*/ 1630304 h 2841503"/>
              <a:gd name="connsiteX55" fmla="*/ 3350238 w 3477018"/>
              <a:gd name="connsiteY55" fmla="*/ 2793878 h 2841503"/>
              <a:gd name="connsiteX56" fmla="*/ 3397863 w 3477018"/>
              <a:gd name="connsiteY56" fmla="*/ 2841503 h 2841503"/>
              <a:gd name="connsiteX57" fmla="*/ 3445488 w 3477018"/>
              <a:gd name="connsiteY57" fmla="*/ 2793878 h 2841503"/>
              <a:gd name="connsiteX58" fmla="*/ 3445488 w 3477018"/>
              <a:gd name="connsiteY58" fmla="*/ 1540864 h 2841503"/>
              <a:gd name="connsiteX59" fmla="*/ 3397775 w 3477018"/>
              <a:gd name="connsiteY59" fmla="*/ 1493327 h 2841503"/>
              <a:gd name="connsiteX60" fmla="*/ 3371288 w 3477018"/>
              <a:gd name="connsiteY60" fmla="*/ 1501431 h 2841503"/>
              <a:gd name="connsiteX61" fmla="*/ 2536803 w 3477018"/>
              <a:gd name="connsiteY61" fmla="*/ 2064930 h 2841503"/>
              <a:gd name="connsiteX62" fmla="*/ 2110750 w 3477018"/>
              <a:gd name="connsiteY62" fmla="*/ 2003875 h 2841503"/>
              <a:gd name="connsiteX63" fmla="*/ 1800997 w 3477018"/>
              <a:gd name="connsiteY63" fmla="*/ 1628399 h 2841503"/>
              <a:gd name="connsiteX64" fmla="*/ 2087413 w 3477018"/>
              <a:gd name="connsiteY64" fmla="*/ 1275974 h 2841503"/>
              <a:gd name="connsiteX65" fmla="*/ 2246100 w 3477018"/>
              <a:gd name="connsiteY65" fmla="*/ 1430851 h 2841503"/>
              <a:gd name="connsiteX66" fmla="*/ 2345827 w 3477018"/>
              <a:gd name="connsiteY66" fmla="*/ 1471427 h 2841503"/>
              <a:gd name="connsiteX67" fmla="*/ 2357542 w 3477018"/>
              <a:gd name="connsiteY67" fmla="*/ 1470951 h 2841503"/>
              <a:gd name="connsiteX68" fmla="*/ 2460984 w 3477018"/>
              <a:gd name="connsiteY68" fmla="*/ 1413039 h 2841503"/>
              <a:gd name="connsiteX69" fmla="*/ 3419961 w 3477018"/>
              <a:gd name="connsiteY69" fmla="*/ 689901 h 2841503"/>
              <a:gd name="connsiteX70" fmla="*/ 3476070 w 3477018"/>
              <a:gd name="connsiteY70" fmla="*/ 652644 h 2841503"/>
              <a:gd name="connsiteX71" fmla="*/ 3443392 w 3477018"/>
              <a:gd name="connsiteY71" fmla="*/ 597699 h 2841503"/>
              <a:gd name="connsiteX72" fmla="*/ 952129 w 3477018"/>
              <a:gd name="connsiteY72" fmla="*/ 544454 h 2841503"/>
              <a:gd name="connsiteX73" fmla="*/ 1130341 w 3477018"/>
              <a:gd name="connsiteY73" fmla="*/ 118496 h 2841503"/>
              <a:gd name="connsiteX74" fmla="*/ 1201493 w 3477018"/>
              <a:gd name="connsiteY74" fmla="*/ 96017 h 2841503"/>
              <a:gd name="connsiteX75" fmla="*/ 1337796 w 3477018"/>
              <a:gd name="connsiteY75" fmla="*/ 113638 h 2841503"/>
              <a:gd name="connsiteX76" fmla="*/ 1413996 w 3477018"/>
              <a:gd name="connsiteY76" fmla="*/ 185362 h 2841503"/>
              <a:gd name="connsiteX77" fmla="*/ 1501340 w 3477018"/>
              <a:gd name="connsiteY77" fmla="*/ 654944 h 2841503"/>
              <a:gd name="connsiteX78" fmla="*/ 1556204 w 3477018"/>
              <a:gd name="connsiteY78" fmla="*/ 757719 h 2841503"/>
              <a:gd name="connsiteX79" fmla="*/ 1671266 w 3477018"/>
              <a:gd name="connsiteY79" fmla="*/ 870019 h 2841503"/>
              <a:gd name="connsiteX80" fmla="*/ 1399804 w 3477018"/>
              <a:gd name="connsiteY80" fmla="*/ 1135004 h 2841503"/>
              <a:gd name="connsiteX81" fmla="*/ 952129 w 3477018"/>
              <a:gd name="connsiteY81" fmla="*/ 544454 h 284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77018" h="2841503">
                <a:moveTo>
                  <a:pt x="3443011" y="597794"/>
                </a:moveTo>
                <a:cubicBezTo>
                  <a:pt x="3425866" y="593413"/>
                  <a:pt x="3013910" y="497496"/>
                  <a:pt x="2383927" y="1356937"/>
                </a:cubicBezTo>
                <a:cubicBezTo>
                  <a:pt x="2375700" y="1367989"/>
                  <a:pt x="2363089" y="1374937"/>
                  <a:pt x="2349351" y="1375987"/>
                </a:cubicBezTo>
                <a:cubicBezTo>
                  <a:pt x="2335594" y="1377349"/>
                  <a:pt x="2321953" y="1372452"/>
                  <a:pt x="2312203" y="1362652"/>
                </a:cubicBezTo>
                <a:lnTo>
                  <a:pt x="2146945" y="1201679"/>
                </a:lnTo>
                <a:cubicBezTo>
                  <a:pt x="2371354" y="921835"/>
                  <a:pt x="2558901" y="679423"/>
                  <a:pt x="2608907" y="592079"/>
                </a:cubicBezTo>
                <a:cubicBezTo>
                  <a:pt x="2732256" y="375004"/>
                  <a:pt x="2512133" y="139737"/>
                  <a:pt x="2411835" y="48583"/>
                </a:cubicBezTo>
                <a:cubicBezTo>
                  <a:pt x="2372048" y="11957"/>
                  <a:pt x="2318134" y="-5259"/>
                  <a:pt x="2264483" y="1529"/>
                </a:cubicBezTo>
                <a:lnTo>
                  <a:pt x="2128180" y="19150"/>
                </a:lnTo>
                <a:cubicBezTo>
                  <a:pt x="2048963" y="29185"/>
                  <a:pt x="1985375" y="89382"/>
                  <a:pt x="1971018" y="167931"/>
                </a:cubicBezTo>
                <a:lnTo>
                  <a:pt x="1883674" y="637418"/>
                </a:lnTo>
                <a:cubicBezTo>
                  <a:pt x="1879966" y="657248"/>
                  <a:pt x="1870218" y="675446"/>
                  <a:pt x="1855765" y="689520"/>
                </a:cubicBezTo>
                <a:lnTo>
                  <a:pt x="1739084" y="803820"/>
                </a:lnTo>
                <a:lnTo>
                  <a:pt x="1622403" y="689520"/>
                </a:lnTo>
                <a:cubicBezTo>
                  <a:pt x="1607980" y="675437"/>
                  <a:pt x="1598265" y="657238"/>
                  <a:pt x="1594590" y="637418"/>
                </a:cubicBezTo>
                <a:lnTo>
                  <a:pt x="1507246" y="167931"/>
                </a:lnTo>
                <a:cubicBezTo>
                  <a:pt x="1492832" y="89412"/>
                  <a:pt x="1429273" y="29243"/>
                  <a:pt x="1350083" y="19150"/>
                </a:cubicBezTo>
                <a:lnTo>
                  <a:pt x="1213685" y="1529"/>
                </a:lnTo>
                <a:cubicBezTo>
                  <a:pt x="1160166" y="-5422"/>
                  <a:pt x="1106301" y="11546"/>
                  <a:pt x="1066429" y="47916"/>
                </a:cubicBezTo>
                <a:cubicBezTo>
                  <a:pt x="966035" y="139070"/>
                  <a:pt x="746008" y="374338"/>
                  <a:pt x="869356" y="591412"/>
                </a:cubicBezTo>
                <a:cubicBezTo>
                  <a:pt x="913457" y="668946"/>
                  <a:pt x="1069381" y="874400"/>
                  <a:pt x="1331319" y="1201012"/>
                </a:cubicBezTo>
                <a:lnTo>
                  <a:pt x="1166060" y="1362366"/>
                </a:lnTo>
                <a:cubicBezTo>
                  <a:pt x="1156325" y="1372190"/>
                  <a:pt x="1142673" y="1377091"/>
                  <a:pt x="1128913" y="1375701"/>
                </a:cubicBezTo>
                <a:cubicBezTo>
                  <a:pt x="1115174" y="1374651"/>
                  <a:pt x="1102564" y="1367703"/>
                  <a:pt x="1094337" y="1356651"/>
                </a:cubicBezTo>
                <a:cubicBezTo>
                  <a:pt x="464353" y="497115"/>
                  <a:pt x="52397" y="593032"/>
                  <a:pt x="35157" y="597508"/>
                </a:cubicBezTo>
                <a:cubicBezTo>
                  <a:pt x="10273" y="604264"/>
                  <a:pt x="-4715" y="629596"/>
                  <a:pt x="1343" y="654658"/>
                </a:cubicBezTo>
                <a:cubicBezTo>
                  <a:pt x="7814" y="679842"/>
                  <a:pt x="33126" y="695325"/>
                  <a:pt x="58493" y="689615"/>
                </a:cubicBezTo>
                <a:cubicBezTo>
                  <a:pt x="62113" y="688758"/>
                  <a:pt x="432540" y="614749"/>
                  <a:pt x="1017565" y="1412658"/>
                </a:cubicBezTo>
                <a:cubicBezTo>
                  <a:pt x="1064250" y="1476274"/>
                  <a:pt x="1153666" y="1490000"/>
                  <a:pt x="1217282" y="1443315"/>
                </a:cubicBezTo>
                <a:cubicBezTo>
                  <a:pt x="1222630" y="1439391"/>
                  <a:pt x="1227698" y="1435099"/>
                  <a:pt x="1232449" y="1430470"/>
                </a:cubicBezTo>
                <a:lnTo>
                  <a:pt x="1922155" y="757147"/>
                </a:lnTo>
                <a:cubicBezTo>
                  <a:pt x="1950688" y="729568"/>
                  <a:pt x="1969986" y="693834"/>
                  <a:pt x="1977400" y="654849"/>
                </a:cubicBezTo>
                <a:lnTo>
                  <a:pt x="2064744" y="185266"/>
                </a:lnTo>
                <a:cubicBezTo>
                  <a:pt x="2071771" y="147292"/>
                  <a:pt x="2102614" y="118261"/>
                  <a:pt x="2140944" y="113543"/>
                </a:cubicBezTo>
                <a:lnTo>
                  <a:pt x="2277247" y="95922"/>
                </a:lnTo>
                <a:cubicBezTo>
                  <a:pt x="2303112" y="92626"/>
                  <a:pt x="2329121" y="100843"/>
                  <a:pt x="2348399" y="118401"/>
                </a:cubicBezTo>
                <a:cubicBezTo>
                  <a:pt x="2431837" y="194601"/>
                  <a:pt x="2616146" y="387101"/>
                  <a:pt x="2526707" y="544359"/>
                </a:cubicBezTo>
                <a:cubicBezTo>
                  <a:pt x="2484034" y="619416"/>
                  <a:pt x="2317157" y="838015"/>
                  <a:pt x="2049599" y="1171390"/>
                </a:cubicBezTo>
                <a:lnTo>
                  <a:pt x="2048932" y="1171866"/>
                </a:lnTo>
                <a:cubicBezTo>
                  <a:pt x="2048361" y="1172437"/>
                  <a:pt x="2048266" y="1173199"/>
                  <a:pt x="2047694" y="1173771"/>
                </a:cubicBezTo>
                <a:cubicBezTo>
                  <a:pt x="1865481" y="1400561"/>
                  <a:pt x="1636786" y="1680215"/>
                  <a:pt x="1368466" y="2003875"/>
                </a:cubicBezTo>
                <a:cubicBezTo>
                  <a:pt x="1263447" y="2131276"/>
                  <a:pt x="1078682" y="2157736"/>
                  <a:pt x="942127" y="2064930"/>
                </a:cubicBezTo>
                <a:lnTo>
                  <a:pt x="107071" y="1501431"/>
                </a:lnTo>
                <a:cubicBezTo>
                  <a:pt x="85244" y="1486754"/>
                  <a:pt x="55651" y="1492550"/>
                  <a:pt x="40975" y="1514377"/>
                </a:cubicBezTo>
                <a:cubicBezTo>
                  <a:pt x="35709" y="1522208"/>
                  <a:pt x="32888" y="1531427"/>
                  <a:pt x="32871" y="1540865"/>
                </a:cubicBezTo>
                <a:lnTo>
                  <a:pt x="32871" y="2793878"/>
                </a:lnTo>
                <a:cubicBezTo>
                  <a:pt x="32871" y="2820181"/>
                  <a:pt x="54193" y="2841503"/>
                  <a:pt x="80496" y="2841503"/>
                </a:cubicBezTo>
                <a:cubicBezTo>
                  <a:pt x="106798" y="2841503"/>
                  <a:pt x="128121" y="2820181"/>
                  <a:pt x="128121" y="2793878"/>
                </a:cubicBezTo>
                <a:lnTo>
                  <a:pt x="128121" y="1630304"/>
                </a:lnTo>
                <a:lnTo>
                  <a:pt x="888406" y="2143702"/>
                </a:lnTo>
                <a:cubicBezTo>
                  <a:pt x="1065399" y="2263797"/>
                  <a:pt x="1304706" y="2229510"/>
                  <a:pt x="1440856" y="2064549"/>
                </a:cubicBezTo>
                <a:cubicBezTo>
                  <a:pt x="1529153" y="1957964"/>
                  <a:pt x="1631356" y="1833758"/>
                  <a:pt x="1738798" y="1703361"/>
                </a:cubicBezTo>
                <a:cubicBezTo>
                  <a:pt x="1848812" y="1837282"/>
                  <a:pt x="1952158" y="1962441"/>
                  <a:pt x="2036835" y="2064549"/>
                </a:cubicBezTo>
                <a:cubicBezTo>
                  <a:pt x="2172986" y="2229510"/>
                  <a:pt x="2412293" y="2263797"/>
                  <a:pt x="2589286" y="2143702"/>
                </a:cubicBezTo>
                <a:lnTo>
                  <a:pt x="3350238" y="1630304"/>
                </a:lnTo>
                <a:lnTo>
                  <a:pt x="3350238" y="2793878"/>
                </a:lnTo>
                <a:cubicBezTo>
                  <a:pt x="3350238" y="2820181"/>
                  <a:pt x="3371560" y="2841503"/>
                  <a:pt x="3397863" y="2841503"/>
                </a:cubicBezTo>
                <a:cubicBezTo>
                  <a:pt x="3424165" y="2841503"/>
                  <a:pt x="3445488" y="2820181"/>
                  <a:pt x="3445488" y="2793878"/>
                </a:cubicBezTo>
                <a:lnTo>
                  <a:pt x="3445488" y="1540864"/>
                </a:lnTo>
                <a:cubicBezTo>
                  <a:pt x="3445440" y="1514562"/>
                  <a:pt x="3424078" y="1493278"/>
                  <a:pt x="3397775" y="1493327"/>
                </a:cubicBezTo>
                <a:cubicBezTo>
                  <a:pt x="3388339" y="1493344"/>
                  <a:pt x="3379119" y="1496165"/>
                  <a:pt x="3371288" y="1501431"/>
                </a:cubicBezTo>
                <a:lnTo>
                  <a:pt x="2536803" y="2064930"/>
                </a:lnTo>
                <a:cubicBezTo>
                  <a:pt x="2400306" y="2157559"/>
                  <a:pt x="2215740" y="2131110"/>
                  <a:pt x="2110750" y="2003875"/>
                </a:cubicBezTo>
                <a:cubicBezTo>
                  <a:pt x="2023119" y="1898242"/>
                  <a:pt x="1915297" y="1767750"/>
                  <a:pt x="1800997" y="1628399"/>
                </a:cubicBezTo>
                <a:cubicBezTo>
                  <a:pt x="1896247" y="1511527"/>
                  <a:pt x="1994259" y="1391608"/>
                  <a:pt x="2087413" y="1275974"/>
                </a:cubicBezTo>
                <a:lnTo>
                  <a:pt x="2246100" y="1430851"/>
                </a:lnTo>
                <a:cubicBezTo>
                  <a:pt x="2272779" y="1456863"/>
                  <a:pt x="2308565" y="1471423"/>
                  <a:pt x="2345827" y="1471427"/>
                </a:cubicBezTo>
                <a:cubicBezTo>
                  <a:pt x="2349732" y="1471427"/>
                  <a:pt x="2353637" y="1471427"/>
                  <a:pt x="2357542" y="1470951"/>
                </a:cubicBezTo>
                <a:cubicBezTo>
                  <a:pt x="2398782" y="1467538"/>
                  <a:pt x="2436517" y="1446412"/>
                  <a:pt x="2460984" y="1413039"/>
                </a:cubicBezTo>
                <a:cubicBezTo>
                  <a:pt x="3043628" y="618273"/>
                  <a:pt x="3413484" y="688567"/>
                  <a:pt x="3419961" y="689901"/>
                </a:cubicBezTo>
                <a:cubicBezTo>
                  <a:pt x="3445743" y="695107"/>
                  <a:pt x="3470864" y="678427"/>
                  <a:pt x="3476070" y="652644"/>
                </a:cubicBezTo>
                <a:cubicBezTo>
                  <a:pt x="3480915" y="628653"/>
                  <a:pt x="3466785" y="604896"/>
                  <a:pt x="3443392" y="597699"/>
                </a:cubicBezTo>
                <a:close/>
                <a:moveTo>
                  <a:pt x="952129" y="544454"/>
                </a:moveTo>
                <a:cubicBezTo>
                  <a:pt x="862689" y="387196"/>
                  <a:pt x="1047379" y="194220"/>
                  <a:pt x="1130341" y="118496"/>
                </a:cubicBezTo>
                <a:cubicBezTo>
                  <a:pt x="1149618" y="100938"/>
                  <a:pt x="1175628" y="92721"/>
                  <a:pt x="1201493" y="96017"/>
                </a:cubicBezTo>
                <a:lnTo>
                  <a:pt x="1337796" y="113638"/>
                </a:lnTo>
                <a:cubicBezTo>
                  <a:pt x="1376126" y="118356"/>
                  <a:pt x="1406969" y="147387"/>
                  <a:pt x="1413996" y="185362"/>
                </a:cubicBezTo>
                <a:lnTo>
                  <a:pt x="1501340" y="654944"/>
                </a:lnTo>
                <a:cubicBezTo>
                  <a:pt x="1508550" y="694055"/>
                  <a:pt x="1527719" y="729965"/>
                  <a:pt x="1556204" y="757719"/>
                </a:cubicBezTo>
                <a:lnTo>
                  <a:pt x="1671266" y="870019"/>
                </a:lnTo>
                <a:lnTo>
                  <a:pt x="1399804" y="1135004"/>
                </a:lnTo>
                <a:cubicBezTo>
                  <a:pt x="1082621" y="738955"/>
                  <a:pt x="980704" y="594746"/>
                  <a:pt x="952129" y="54445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Isosceles Triangle 5">
            <a:extLst>
              <a:ext uri="{FF2B5EF4-FFF2-40B4-BE49-F238E27FC236}">
                <a16:creationId xmlns:a16="http://schemas.microsoft.com/office/drawing/2014/main" id="{92379CD0-6576-45A7-8352-AC39EB32A2F0}"/>
              </a:ext>
            </a:extLst>
          </p:cNvPr>
          <p:cNvSpPr/>
          <p:nvPr/>
        </p:nvSpPr>
        <p:spPr>
          <a:xfrm rot="5400000">
            <a:off x="4054495" y="1982024"/>
            <a:ext cx="467893" cy="30878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Isosceles Triangle 69">
            <a:extLst>
              <a:ext uri="{FF2B5EF4-FFF2-40B4-BE49-F238E27FC236}">
                <a16:creationId xmlns:a16="http://schemas.microsoft.com/office/drawing/2014/main" id="{4D563567-AD32-4804-8FEF-625757BBDDD1}"/>
              </a:ext>
            </a:extLst>
          </p:cNvPr>
          <p:cNvSpPr/>
          <p:nvPr/>
        </p:nvSpPr>
        <p:spPr>
          <a:xfrm rot="5400000">
            <a:off x="7761627" y="1982856"/>
            <a:ext cx="514572" cy="30878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C2256E0B-5AF4-476E-8D8E-E01FB068CDC7}"/>
              </a:ext>
            </a:extLst>
          </p:cNvPr>
          <p:cNvSpPr/>
          <p:nvPr/>
        </p:nvSpPr>
        <p:spPr>
          <a:xfrm>
            <a:off x="600217"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A</a:t>
            </a:r>
          </a:p>
        </p:txBody>
      </p:sp>
      <p:sp>
        <p:nvSpPr>
          <p:cNvPr id="10" name="Oval 9">
            <a:extLst>
              <a:ext uri="{FF2B5EF4-FFF2-40B4-BE49-F238E27FC236}">
                <a16:creationId xmlns:a16="http://schemas.microsoft.com/office/drawing/2014/main" id="{14D951E3-3F75-4B12-A370-2CBBA4473BBB}"/>
              </a:ext>
            </a:extLst>
          </p:cNvPr>
          <p:cNvSpPr/>
          <p:nvPr/>
        </p:nvSpPr>
        <p:spPr>
          <a:xfrm>
            <a:off x="4292175"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B</a:t>
            </a:r>
          </a:p>
        </p:txBody>
      </p:sp>
      <p:sp>
        <p:nvSpPr>
          <p:cNvPr id="11" name="Oval 10">
            <a:extLst>
              <a:ext uri="{FF2B5EF4-FFF2-40B4-BE49-F238E27FC236}">
                <a16:creationId xmlns:a16="http://schemas.microsoft.com/office/drawing/2014/main" id="{EF57BFAE-2AAC-41D5-B031-69463F822E3C}"/>
              </a:ext>
            </a:extLst>
          </p:cNvPr>
          <p:cNvSpPr/>
          <p:nvPr/>
        </p:nvSpPr>
        <p:spPr>
          <a:xfrm>
            <a:off x="7984133"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C</a:t>
            </a:r>
          </a:p>
        </p:txBody>
      </p:sp>
      <p:sp>
        <p:nvSpPr>
          <p:cNvPr id="68" name="Rectangle 67">
            <a:extLst>
              <a:ext uri="{FF2B5EF4-FFF2-40B4-BE49-F238E27FC236}">
                <a16:creationId xmlns:a16="http://schemas.microsoft.com/office/drawing/2014/main" id="{CC1E2537-9D79-4C27-B6D9-D72B029B8E38}"/>
              </a:ext>
            </a:extLst>
          </p:cNvPr>
          <p:cNvSpPr/>
          <p:nvPr/>
        </p:nvSpPr>
        <p:spPr>
          <a:xfrm>
            <a:off x="4484588" y="3540695"/>
            <a:ext cx="3350731" cy="1060794"/>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Hold workshops to understand how to execute use cas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iscuss PoC vs Prototype vs Pilot</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compose use cases into execution plan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Summarize execution plans on a 24 month roadmap</a:t>
            </a:r>
          </a:p>
        </p:txBody>
      </p:sp>
      <p:sp>
        <p:nvSpPr>
          <p:cNvPr id="69" name="Rectangle 68">
            <a:extLst>
              <a:ext uri="{FF2B5EF4-FFF2-40B4-BE49-F238E27FC236}">
                <a16:creationId xmlns:a16="http://schemas.microsoft.com/office/drawing/2014/main" id="{9F56601C-7D57-49AF-BEBA-26921CCD0DB5}"/>
              </a:ext>
            </a:extLst>
          </p:cNvPr>
          <p:cNvSpPr/>
          <p:nvPr/>
        </p:nvSpPr>
        <p:spPr>
          <a:xfrm>
            <a:off x="8236525" y="3563413"/>
            <a:ext cx="3350731" cy="1314710"/>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Increase level of data literacy across the enterprise</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reate and evangelize a DG charter</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onvert guiding collation into DG council</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Re-affirm membership/dedication of DG Community</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Begin discussion/resolution of top data issu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Tree>
    <p:extLst>
      <p:ext uri="{BB962C8B-B14F-4D97-AF65-F5344CB8AC3E}">
        <p14:creationId xmlns:p14="http://schemas.microsoft.com/office/powerpoint/2010/main" val="150909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1"/>
            </p:custDataLst>
            <p:extLst>
              <p:ext uri="{D42A27DB-BD31-4B8C-83A1-F6EECF244321}">
                <p14:modId xmlns:p14="http://schemas.microsoft.com/office/powerpoint/2010/main" val="100131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8">
            <a:extLst>
              <a:ext uri="{FF2B5EF4-FFF2-40B4-BE49-F238E27FC236}">
                <a16:creationId xmlns:a16="http://schemas.microsoft.com/office/drawing/2014/main" id="{FF26858D-5355-456C-97F8-0455E98B8364}"/>
              </a:ext>
            </a:extLst>
          </p:cNvPr>
          <p:cNvSpPr>
            <a:spLocks noChangeArrowheads="1"/>
          </p:cNvSpPr>
          <p:nvPr/>
        </p:nvSpPr>
        <p:spPr bwMode="gray">
          <a:xfrm>
            <a:off x="5907872" y="3135191"/>
            <a:ext cx="5650610" cy="581698"/>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chemeClr val="tx2">
                  <a:lumMod val="90000"/>
                  <a:lumOff val="10000"/>
                </a:schemeClr>
              </a:buClr>
              <a:buSzPct val="75000"/>
            </a:pPr>
            <a:r>
              <a:rPr lang="en-US" sz="1400">
                <a:cs typeface="Calibri"/>
              </a:rPr>
              <a:t>Cooperate with privacy officer(s) to provide guidelines for proper usage and storage of sensitive data which includes personal and confidential data, such as financial data</a:t>
            </a:r>
          </a:p>
        </p:txBody>
      </p:sp>
      <p:grpSp>
        <p:nvGrpSpPr>
          <p:cNvPr id="264" name="Group 263">
            <a:extLst>
              <a:ext uri="{FF2B5EF4-FFF2-40B4-BE49-F238E27FC236}">
                <a16:creationId xmlns:a16="http://schemas.microsoft.com/office/drawing/2014/main" id="{1E65AF05-D415-4188-AC6D-CCAACEA3FD99}"/>
              </a:ext>
            </a:extLst>
          </p:cNvPr>
          <p:cNvGrpSpPr/>
          <p:nvPr/>
        </p:nvGrpSpPr>
        <p:grpSpPr>
          <a:xfrm>
            <a:off x="3298019" y="3205271"/>
            <a:ext cx="2342697" cy="499131"/>
            <a:chOff x="3296739" y="3112911"/>
            <a:chExt cx="2342697" cy="499131"/>
          </a:xfrm>
        </p:grpSpPr>
        <p:sp>
          <p:nvSpPr>
            <p:cNvPr id="37" name="Rectangle 8">
              <a:extLst>
                <a:ext uri="{FF2B5EF4-FFF2-40B4-BE49-F238E27FC236}">
                  <a16:creationId xmlns:a16="http://schemas.microsoft.com/office/drawing/2014/main" id="{8218C9EF-51A3-4D6A-A926-22F7A57DB7C5}"/>
                </a:ext>
              </a:extLst>
            </p:cNvPr>
            <p:cNvSpPr>
              <a:spLocks noChangeArrowheads="1"/>
            </p:cNvSpPr>
            <p:nvPr/>
          </p:nvSpPr>
          <p:spPr bwMode="gray">
            <a:xfrm>
              <a:off x="4048444" y="320844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r>
                <a:rPr lang="en-US" sz="1400" b="1">
                  <a:latin typeface="EYInterstate Light"/>
                  <a:sym typeface="EYInterstate Light" panose="02000506000000020004" pitchFamily="2" charset="0"/>
                </a:rPr>
                <a:t>Privacy &amp; Ethics</a:t>
              </a:r>
              <a:endParaRPr lang="en-US" altLang="de-DE" sz="1200" b="1">
                <a:latin typeface="EYInterstate Light" panose="02000506000000020004" pitchFamily="2" charset="0"/>
                <a:sym typeface="EYInterstate Light" panose="02000506000000020004" pitchFamily="2" charset="0"/>
              </a:endParaRPr>
            </a:p>
          </p:txBody>
        </p:sp>
        <p:grpSp>
          <p:nvGrpSpPr>
            <p:cNvPr id="102" name="Group 101">
              <a:extLst>
                <a:ext uri="{FF2B5EF4-FFF2-40B4-BE49-F238E27FC236}">
                  <a16:creationId xmlns:a16="http://schemas.microsoft.com/office/drawing/2014/main" id="{115756C6-BCB4-481B-BDAA-297B70058D1A}"/>
                </a:ext>
              </a:extLst>
            </p:cNvPr>
            <p:cNvGrpSpPr/>
            <p:nvPr/>
          </p:nvGrpSpPr>
          <p:grpSpPr>
            <a:xfrm>
              <a:off x="3296739" y="3112911"/>
              <a:ext cx="511585" cy="499131"/>
              <a:chOff x="3905250" y="2444750"/>
              <a:chExt cx="711200" cy="660400"/>
            </a:xfrm>
            <a:solidFill>
              <a:srgbClr val="FFFFFF"/>
            </a:solidFill>
          </p:grpSpPr>
          <p:sp>
            <p:nvSpPr>
              <p:cNvPr id="103" name="Freeform 89">
                <a:extLst>
                  <a:ext uri="{FF2B5EF4-FFF2-40B4-BE49-F238E27FC236}">
                    <a16:creationId xmlns:a16="http://schemas.microsoft.com/office/drawing/2014/main" id="{FF9DB5DA-0706-4416-8EEE-617138587EE1}"/>
                  </a:ext>
                </a:extLst>
              </p:cNvPr>
              <p:cNvSpPr>
                <a:spLocks/>
              </p:cNvSpPr>
              <p:nvPr/>
            </p:nvSpPr>
            <p:spPr bwMode="auto">
              <a:xfrm>
                <a:off x="3905250" y="2533650"/>
                <a:ext cx="250825" cy="571500"/>
              </a:xfrm>
              <a:custGeom>
                <a:avLst/>
                <a:gdLst>
                  <a:gd name="T0" fmla="*/ 158 w 158"/>
                  <a:gd name="T1" fmla="*/ 360 h 360"/>
                  <a:gd name="T2" fmla="*/ 158 w 158"/>
                  <a:gd name="T3" fmla="*/ 360 h 360"/>
                  <a:gd name="T4" fmla="*/ 128 w 158"/>
                  <a:gd name="T5" fmla="*/ 342 h 360"/>
                  <a:gd name="T6" fmla="*/ 98 w 158"/>
                  <a:gd name="T7" fmla="*/ 324 h 360"/>
                  <a:gd name="T8" fmla="*/ 72 w 158"/>
                  <a:gd name="T9" fmla="*/ 302 h 360"/>
                  <a:gd name="T10" fmla="*/ 48 w 158"/>
                  <a:gd name="T11" fmla="*/ 280 h 360"/>
                  <a:gd name="T12" fmla="*/ 28 w 158"/>
                  <a:gd name="T13" fmla="*/ 258 h 360"/>
                  <a:gd name="T14" fmla="*/ 12 w 158"/>
                  <a:gd name="T15" fmla="*/ 236 h 360"/>
                  <a:gd name="T16" fmla="*/ 8 w 158"/>
                  <a:gd name="T17" fmla="*/ 224 h 360"/>
                  <a:gd name="T18" fmla="*/ 4 w 158"/>
                  <a:gd name="T19" fmla="*/ 214 h 360"/>
                  <a:gd name="T20" fmla="*/ 0 w 158"/>
                  <a:gd name="T21" fmla="*/ 202 h 360"/>
                  <a:gd name="T22" fmla="*/ 0 w 158"/>
                  <a:gd name="T23" fmla="*/ 192 h 360"/>
                  <a:gd name="T24" fmla="*/ 0 w 158"/>
                  <a:gd name="T25"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360">
                    <a:moveTo>
                      <a:pt x="158" y="360"/>
                    </a:moveTo>
                    <a:lnTo>
                      <a:pt x="158" y="360"/>
                    </a:lnTo>
                    <a:lnTo>
                      <a:pt x="128" y="342"/>
                    </a:lnTo>
                    <a:lnTo>
                      <a:pt x="98" y="324"/>
                    </a:lnTo>
                    <a:lnTo>
                      <a:pt x="72" y="302"/>
                    </a:lnTo>
                    <a:lnTo>
                      <a:pt x="48" y="280"/>
                    </a:lnTo>
                    <a:lnTo>
                      <a:pt x="28" y="258"/>
                    </a:lnTo>
                    <a:lnTo>
                      <a:pt x="12" y="236"/>
                    </a:lnTo>
                    <a:lnTo>
                      <a:pt x="8" y="224"/>
                    </a:lnTo>
                    <a:lnTo>
                      <a:pt x="4" y="214"/>
                    </a:lnTo>
                    <a:lnTo>
                      <a:pt x="0" y="202"/>
                    </a:lnTo>
                    <a:lnTo>
                      <a:pt x="0" y="192"/>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04" name="Freeform 90">
                <a:extLst>
                  <a:ext uri="{FF2B5EF4-FFF2-40B4-BE49-F238E27FC236}">
                    <a16:creationId xmlns:a16="http://schemas.microsoft.com/office/drawing/2014/main" id="{4A2477D8-02B5-4664-9F8F-71868485E24E}"/>
                  </a:ext>
                </a:extLst>
              </p:cNvPr>
              <p:cNvSpPr>
                <a:spLocks/>
              </p:cNvSpPr>
              <p:nvPr/>
            </p:nvSpPr>
            <p:spPr bwMode="auto">
              <a:xfrm>
                <a:off x="4365625" y="2533650"/>
                <a:ext cx="250825" cy="571500"/>
              </a:xfrm>
              <a:custGeom>
                <a:avLst/>
                <a:gdLst>
                  <a:gd name="T0" fmla="*/ 0 w 158"/>
                  <a:gd name="T1" fmla="*/ 360 h 360"/>
                  <a:gd name="T2" fmla="*/ 0 w 158"/>
                  <a:gd name="T3" fmla="*/ 360 h 360"/>
                  <a:gd name="T4" fmla="*/ 30 w 158"/>
                  <a:gd name="T5" fmla="*/ 342 h 360"/>
                  <a:gd name="T6" fmla="*/ 60 w 158"/>
                  <a:gd name="T7" fmla="*/ 324 h 360"/>
                  <a:gd name="T8" fmla="*/ 86 w 158"/>
                  <a:gd name="T9" fmla="*/ 302 h 360"/>
                  <a:gd name="T10" fmla="*/ 110 w 158"/>
                  <a:gd name="T11" fmla="*/ 280 h 360"/>
                  <a:gd name="T12" fmla="*/ 130 w 158"/>
                  <a:gd name="T13" fmla="*/ 258 h 360"/>
                  <a:gd name="T14" fmla="*/ 146 w 158"/>
                  <a:gd name="T15" fmla="*/ 236 h 360"/>
                  <a:gd name="T16" fmla="*/ 150 w 158"/>
                  <a:gd name="T17" fmla="*/ 224 h 360"/>
                  <a:gd name="T18" fmla="*/ 154 w 158"/>
                  <a:gd name="T19" fmla="*/ 214 h 360"/>
                  <a:gd name="T20" fmla="*/ 158 w 158"/>
                  <a:gd name="T21" fmla="*/ 202 h 360"/>
                  <a:gd name="T22" fmla="*/ 158 w 158"/>
                  <a:gd name="T23" fmla="*/ 192 h 360"/>
                  <a:gd name="T24" fmla="*/ 158 w 158"/>
                  <a:gd name="T25"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360">
                    <a:moveTo>
                      <a:pt x="0" y="360"/>
                    </a:moveTo>
                    <a:lnTo>
                      <a:pt x="0" y="360"/>
                    </a:lnTo>
                    <a:lnTo>
                      <a:pt x="30" y="342"/>
                    </a:lnTo>
                    <a:lnTo>
                      <a:pt x="60" y="324"/>
                    </a:lnTo>
                    <a:lnTo>
                      <a:pt x="86" y="302"/>
                    </a:lnTo>
                    <a:lnTo>
                      <a:pt x="110" y="280"/>
                    </a:lnTo>
                    <a:lnTo>
                      <a:pt x="130" y="258"/>
                    </a:lnTo>
                    <a:lnTo>
                      <a:pt x="146" y="236"/>
                    </a:lnTo>
                    <a:lnTo>
                      <a:pt x="150" y="224"/>
                    </a:lnTo>
                    <a:lnTo>
                      <a:pt x="154" y="214"/>
                    </a:lnTo>
                    <a:lnTo>
                      <a:pt x="158" y="202"/>
                    </a:lnTo>
                    <a:lnTo>
                      <a:pt x="158" y="192"/>
                    </a:lnTo>
                    <a:lnTo>
                      <a:pt x="158"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05" name="Freeform 91">
                <a:extLst>
                  <a:ext uri="{FF2B5EF4-FFF2-40B4-BE49-F238E27FC236}">
                    <a16:creationId xmlns:a16="http://schemas.microsoft.com/office/drawing/2014/main" id="{7B7F6277-9ED4-41E9-B184-FA59555EEE15}"/>
                  </a:ext>
                </a:extLst>
              </p:cNvPr>
              <p:cNvSpPr>
                <a:spLocks/>
              </p:cNvSpPr>
              <p:nvPr/>
            </p:nvSpPr>
            <p:spPr bwMode="auto">
              <a:xfrm>
                <a:off x="3981450" y="2444750"/>
                <a:ext cx="558800" cy="609600"/>
              </a:xfrm>
              <a:custGeom>
                <a:avLst/>
                <a:gdLst>
                  <a:gd name="T0" fmla="*/ 176 w 352"/>
                  <a:gd name="T1" fmla="*/ 0 h 384"/>
                  <a:gd name="T2" fmla="*/ 282 w 352"/>
                  <a:gd name="T3" fmla="*/ 0 h 384"/>
                  <a:gd name="T4" fmla="*/ 282 w 352"/>
                  <a:gd name="T5" fmla="*/ 0 h 384"/>
                  <a:gd name="T6" fmla="*/ 286 w 352"/>
                  <a:gd name="T7" fmla="*/ 2 h 384"/>
                  <a:gd name="T8" fmla="*/ 290 w 352"/>
                  <a:gd name="T9" fmla="*/ 6 h 384"/>
                  <a:gd name="T10" fmla="*/ 290 w 352"/>
                  <a:gd name="T11" fmla="*/ 6 h 384"/>
                  <a:gd name="T12" fmla="*/ 292 w 352"/>
                  <a:gd name="T13" fmla="*/ 16 h 384"/>
                  <a:gd name="T14" fmla="*/ 298 w 352"/>
                  <a:gd name="T15" fmla="*/ 26 h 384"/>
                  <a:gd name="T16" fmla="*/ 302 w 352"/>
                  <a:gd name="T17" fmla="*/ 34 h 384"/>
                  <a:gd name="T18" fmla="*/ 310 w 352"/>
                  <a:gd name="T19" fmla="*/ 42 h 384"/>
                  <a:gd name="T20" fmla="*/ 318 w 352"/>
                  <a:gd name="T21" fmla="*/ 50 h 384"/>
                  <a:gd name="T22" fmla="*/ 326 w 352"/>
                  <a:gd name="T23" fmla="*/ 54 h 384"/>
                  <a:gd name="T24" fmla="*/ 336 w 352"/>
                  <a:gd name="T25" fmla="*/ 60 h 384"/>
                  <a:gd name="T26" fmla="*/ 346 w 352"/>
                  <a:gd name="T27" fmla="*/ 62 h 384"/>
                  <a:gd name="T28" fmla="*/ 346 w 352"/>
                  <a:gd name="T29" fmla="*/ 62 h 384"/>
                  <a:gd name="T30" fmla="*/ 350 w 352"/>
                  <a:gd name="T31" fmla="*/ 66 h 384"/>
                  <a:gd name="T32" fmla="*/ 352 w 352"/>
                  <a:gd name="T33" fmla="*/ 70 h 384"/>
                  <a:gd name="T34" fmla="*/ 352 w 352"/>
                  <a:gd name="T35" fmla="*/ 224 h 384"/>
                  <a:gd name="T36" fmla="*/ 352 w 352"/>
                  <a:gd name="T37" fmla="*/ 224 h 384"/>
                  <a:gd name="T38" fmla="*/ 350 w 352"/>
                  <a:gd name="T39" fmla="*/ 240 h 384"/>
                  <a:gd name="T40" fmla="*/ 346 w 352"/>
                  <a:gd name="T41" fmla="*/ 256 h 384"/>
                  <a:gd name="T42" fmla="*/ 338 w 352"/>
                  <a:gd name="T43" fmla="*/ 270 h 384"/>
                  <a:gd name="T44" fmla="*/ 328 w 352"/>
                  <a:gd name="T45" fmla="*/ 286 h 384"/>
                  <a:gd name="T46" fmla="*/ 316 w 352"/>
                  <a:gd name="T47" fmla="*/ 300 h 384"/>
                  <a:gd name="T48" fmla="*/ 302 w 352"/>
                  <a:gd name="T49" fmla="*/ 312 h 384"/>
                  <a:gd name="T50" fmla="*/ 288 w 352"/>
                  <a:gd name="T51" fmla="*/ 324 h 384"/>
                  <a:gd name="T52" fmla="*/ 272 w 352"/>
                  <a:gd name="T53" fmla="*/ 336 h 384"/>
                  <a:gd name="T54" fmla="*/ 242 w 352"/>
                  <a:gd name="T55" fmla="*/ 356 h 384"/>
                  <a:gd name="T56" fmla="*/ 212 w 352"/>
                  <a:gd name="T57" fmla="*/ 372 h 384"/>
                  <a:gd name="T58" fmla="*/ 190 w 352"/>
                  <a:gd name="T59" fmla="*/ 380 h 384"/>
                  <a:gd name="T60" fmla="*/ 176 w 352"/>
                  <a:gd name="T61" fmla="*/ 384 h 384"/>
                  <a:gd name="T62" fmla="*/ 176 w 352"/>
                  <a:gd name="T63" fmla="*/ 384 h 384"/>
                  <a:gd name="T64" fmla="*/ 162 w 352"/>
                  <a:gd name="T65" fmla="*/ 380 h 384"/>
                  <a:gd name="T66" fmla="*/ 140 w 352"/>
                  <a:gd name="T67" fmla="*/ 372 h 384"/>
                  <a:gd name="T68" fmla="*/ 110 w 352"/>
                  <a:gd name="T69" fmla="*/ 356 h 384"/>
                  <a:gd name="T70" fmla="*/ 80 w 352"/>
                  <a:gd name="T71" fmla="*/ 336 h 384"/>
                  <a:gd name="T72" fmla="*/ 64 w 352"/>
                  <a:gd name="T73" fmla="*/ 324 h 384"/>
                  <a:gd name="T74" fmla="*/ 50 w 352"/>
                  <a:gd name="T75" fmla="*/ 312 h 384"/>
                  <a:gd name="T76" fmla="*/ 36 w 352"/>
                  <a:gd name="T77" fmla="*/ 300 h 384"/>
                  <a:gd name="T78" fmla="*/ 24 w 352"/>
                  <a:gd name="T79" fmla="*/ 286 h 384"/>
                  <a:gd name="T80" fmla="*/ 14 w 352"/>
                  <a:gd name="T81" fmla="*/ 270 h 384"/>
                  <a:gd name="T82" fmla="*/ 6 w 352"/>
                  <a:gd name="T83" fmla="*/ 256 h 384"/>
                  <a:gd name="T84" fmla="*/ 2 w 352"/>
                  <a:gd name="T85" fmla="*/ 240 h 384"/>
                  <a:gd name="T86" fmla="*/ 0 w 352"/>
                  <a:gd name="T87" fmla="*/ 224 h 384"/>
                  <a:gd name="T88" fmla="*/ 0 w 352"/>
                  <a:gd name="T89" fmla="*/ 70 h 384"/>
                  <a:gd name="T90" fmla="*/ 0 w 352"/>
                  <a:gd name="T91" fmla="*/ 70 h 384"/>
                  <a:gd name="T92" fmla="*/ 2 w 352"/>
                  <a:gd name="T93" fmla="*/ 66 h 384"/>
                  <a:gd name="T94" fmla="*/ 6 w 352"/>
                  <a:gd name="T95" fmla="*/ 62 h 384"/>
                  <a:gd name="T96" fmla="*/ 6 w 352"/>
                  <a:gd name="T97" fmla="*/ 62 h 384"/>
                  <a:gd name="T98" fmla="*/ 16 w 352"/>
                  <a:gd name="T99" fmla="*/ 60 h 384"/>
                  <a:gd name="T100" fmla="*/ 26 w 352"/>
                  <a:gd name="T101" fmla="*/ 54 h 384"/>
                  <a:gd name="T102" fmla="*/ 34 w 352"/>
                  <a:gd name="T103" fmla="*/ 50 h 384"/>
                  <a:gd name="T104" fmla="*/ 42 w 352"/>
                  <a:gd name="T105" fmla="*/ 42 h 384"/>
                  <a:gd name="T106" fmla="*/ 50 w 352"/>
                  <a:gd name="T107" fmla="*/ 34 h 384"/>
                  <a:gd name="T108" fmla="*/ 54 w 352"/>
                  <a:gd name="T109" fmla="*/ 26 h 384"/>
                  <a:gd name="T110" fmla="*/ 60 w 352"/>
                  <a:gd name="T111" fmla="*/ 16 h 384"/>
                  <a:gd name="T112" fmla="*/ 62 w 352"/>
                  <a:gd name="T113" fmla="*/ 6 h 384"/>
                  <a:gd name="T114" fmla="*/ 62 w 352"/>
                  <a:gd name="T115" fmla="*/ 6 h 384"/>
                  <a:gd name="T116" fmla="*/ 66 w 352"/>
                  <a:gd name="T117" fmla="*/ 2 h 384"/>
                  <a:gd name="T118" fmla="*/ 70 w 352"/>
                  <a:gd name="T119" fmla="*/ 0 h 384"/>
                  <a:gd name="T120" fmla="*/ 176 w 352"/>
                  <a:gd name="T12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 h="384">
                    <a:moveTo>
                      <a:pt x="176" y="0"/>
                    </a:moveTo>
                    <a:lnTo>
                      <a:pt x="282" y="0"/>
                    </a:lnTo>
                    <a:lnTo>
                      <a:pt x="282" y="0"/>
                    </a:lnTo>
                    <a:lnTo>
                      <a:pt x="286" y="2"/>
                    </a:lnTo>
                    <a:lnTo>
                      <a:pt x="290" y="6"/>
                    </a:lnTo>
                    <a:lnTo>
                      <a:pt x="290" y="6"/>
                    </a:lnTo>
                    <a:lnTo>
                      <a:pt x="292" y="16"/>
                    </a:lnTo>
                    <a:lnTo>
                      <a:pt x="298" y="26"/>
                    </a:lnTo>
                    <a:lnTo>
                      <a:pt x="302" y="34"/>
                    </a:lnTo>
                    <a:lnTo>
                      <a:pt x="310" y="42"/>
                    </a:lnTo>
                    <a:lnTo>
                      <a:pt x="318" y="50"/>
                    </a:lnTo>
                    <a:lnTo>
                      <a:pt x="326" y="54"/>
                    </a:lnTo>
                    <a:lnTo>
                      <a:pt x="336" y="60"/>
                    </a:lnTo>
                    <a:lnTo>
                      <a:pt x="346" y="62"/>
                    </a:lnTo>
                    <a:lnTo>
                      <a:pt x="346" y="62"/>
                    </a:lnTo>
                    <a:lnTo>
                      <a:pt x="350" y="66"/>
                    </a:lnTo>
                    <a:lnTo>
                      <a:pt x="352" y="70"/>
                    </a:lnTo>
                    <a:lnTo>
                      <a:pt x="352" y="224"/>
                    </a:lnTo>
                    <a:lnTo>
                      <a:pt x="352" y="224"/>
                    </a:lnTo>
                    <a:lnTo>
                      <a:pt x="350" y="240"/>
                    </a:lnTo>
                    <a:lnTo>
                      <a:pt x="346" y="256"/>
                    </a:lnTo>
                    <a:lnTo>
                      <a:pt x="338" y="270"/>
                    </a:lnTo>
                    <a:lnTo>
                      <a:pt x="328" y="286"/>
                    </a:lnTo>
                    <a:lnTo>
                      <a:pt x="316" y="300"/>
                    </a:lnTo>
                    <a:lnTo>
                      <a:pt x="302" y="312"/>
                    </a:lnTo>
                    <a:lnTo>
                      <a:pt x="288" y="324"/>
                    </a:lnTo>
                    <a:lnTo>
                      <a:pt x="272" y="336"/>
                    </a:lnTo>
                    <a:lnTo>
                      <a:pt x="242" y="356"/>
                    </a:lnTo>
                    <a:lnTo>
                      <a:pt x="212" y="372"/>
                    </a:lnTo>
                    <a:lnTo>
                      <a:pt x="190" y="380"/>
                    </a:lnTo>
                    <a:lnTo>
                      <a:pt x="176" y="384"/>
                    </a:lnTo>
                    <a:lnTo>
                      <a:pt x="176" y="384"/>
                    </a:lnTo>
                    <a:lnTo>
                      <a:pt x="162" y="380"/>
                    </a:lnTo>
                    <a:lnTo>
                      <a:pt x="140" y="372"/>
                    </a:lnTo>
                    <a:lnTo>
                      <a:pt x="110" y="356"/>
                    </a:lnTo>
                    <a:lnTo>
                      <a:pt x="80" y="336"/>
                    </a:lnTo>
                    <a:lnTo>
                      <a:pt x="64" y="324"/>
                    </a:lnTo>
                    <a:lnTo>
                      <a:pt x="50" y="312"/>
                    </a:lnTo>
                    <a:lnTo>
                      <a:pt x="36" y="300"/>
                    </a:lnTo>
                    <a:lnTo>
                      <a:pt x="24" y="286"/>
                    </a:lnTo>
                    <a:lnTo>
                      <a:pt x="14" y="270"/>
                    </a:lnTo>
                    <a:lnTo>
                      <a:pt x="6" y="256"/>
                    </a:lnTo>
                    <a:lnTo>
                      <a:pt x="2" y="240"/>
                    </a:lnTo>
                    <a:lnTo>
                      <a:pt x="0" y="224"/>
                    </a:lnTo>
                    <a:lnTo>
                      <a:pt x="0" y="70"/>
                    </a:lnTo>
                    <a:lnTo>
                      <a:pt x="0" y="70"/>
                    </a:lnTo>
                    <a:lnTo>
                      <a:pt x="2" y="66"/>
                    </a:lnTo>
                    <a:lnTo>
                      <a:pt x="6" y="62"/>
                    </a:lnTo>
                    <a:lnTo>
                      <a:pt x="6" y="62"/>
                    </a:lnTo>
                    <a:lnTo>
                      <a:pt x="16" y="60"/>
                    </a:lnTo>
                    <a:lnTo>
                      <a:pt x="26" y="54"/>
                    </a:lnTo>
                    <a:lnTo>
                      <a:pt x="34" y="50"/>
                    </a:lnTo>
                    <a:lnTo>
                      <a:pt x="42" y="42"/>
                    </a:lnTo>
                    <a:lnTo>
                      <a:pt x="50" y="34"/>
                    </a:lnTo>
                    <a:lnTo>
                      <a:pt x="54" y="26"/>
                    </a:lnTo>
                    <a:lnTo>
                      <a:pt x="60" y="16"/>
                    </a:lnTo>
                    <a:lnTo>
                      <a:pt x="62" y="6"/>
                    </a:lnTo>
                    <a:lnTo>
                      <a:pt x="62" y="6"/>
                    </a:lnTo>
                    <a:lnTo>
                      <a:pt x="66" y="2"/>
                    </a:lnTo>
                    <a:lnTo>
                      <a:pt x="70" y="0"/>
                    </a:lnTo>
                    <a:lnTo>
                      <a:pt x="176"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06" name="Freeform 92">
                <a:extLst>
                  <a:ext uri="{FF2B5EF4-FFF2-40B4-BE49-F238E27FC236}">
                    <a16:creationId xmlns:a16="http://schemas.microsoft.com/office/drawing/2014/main" id="{3C87A403-B809-4B31-AB07-0EBCD461599A}"/>
                  </a:ext>
                </a:extLst>
              </p:cNvPr>
              <p:cNvSpPr>
                <a:spLocks/>
              </p:cNvSpPr>
              <p:nvPr/>
            </p:nvSpPr>
            <p:spPr bwMode="auto">
              <a:xfrm>
                <a:off x="4260850" y="2546350"/>
                <a:ext cx="177800" cy="190500"/>
              </a:xfrm>
              <a:custGeom>
                <a:avLst/>
                <a:gdLst>
                  <a:gd name="T0" fmla="*/ 0 w 112"/>
                  <a:gd name="T1" fmla="*/ 120 h 120"/>
                  <a:gd name="T2" fmla="*/ 0 w 112"/>
                  <a:gd name="T3" fmla="*/ 0 h 120"/>
                  <a:gd name="T4" fmla="*/ 72 w 112"/>
                  <a:gd name="T5" fmla="*/ 0 h 120"/>
                  <a:gd name="T6" fmla="*/ 72 w 112"/>
                  <a:gd name="T7" fmla="*/ 0 h 120"/>
                  <a:gd name="T8" fmla="*/ 78 w 112"/>
                  <a:gd name="T9" fmla="*/ 12 h 120"/>
                  <a:gd name="T10" fmla="*/ 86 w 112"/>
                  <a:gd name="T11" fmla="*/ 24 h 120"/>
                  <a:gd name="T12" fmla="*/ 98 w 112"/>
                  <a:gd name="T13" fmla="*/ 34 h 120"/>
                  <a:gd name="T14" fmla="*/ 104 w 112"/>
                  <a:gd name="T15" fmla="*/ 38 h 120"/>
                  <a:gd name="T16" fmla="*/ 112 w 112"/>
                  <a:gd name="T17" fmla="*/ 40 h 120"/>
                  <a:gd name="T18" fmla="*/ 112 w 112"/>
                  <a:gd name="T19" fmla="*/ 120 h 120"/>
                  <a:gd name="T20" fmla="*/ 0 w 112"/>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0">
                    <a:moveTo>
                      <a:pt x="0" y="120"/>
                    </a:moveTo>
                    <a:lnTo>
                      <a:pt x="0" y="0"/>
                    </a:lnTo>
                    <a:lnTo>
                      <a:pt x="72" y="0"/>
                    </a:lnTo>
                    <a:lnTo>
                      <a:pt x="72" y="0"/>
                    </a:lnTo>
                    <a:lnTo>
                      <a:pt x="78" y="12"/>
                    </a:lnTo>
                    <a:lnTo>
                      <a:pt x="86" y="24"/>
                    </a:lnTo>
                    <a:lnTo>
                      <a:pt x="98" y="34"/>
                    </a:lnTo>
                    <a:lnTo>
                      <a:pt x="104" y="38"/>
                    </a:lnTo>
                    <a:lnTo>
                      <a:pt x="112" y="40"/>
                    </a:lnTo>
                    <a:lnTo>
                      <a:pt x="112" y="120"/>
                    </a:lnTo>
                    <a:lnTo>
                      <a:pt x="0" y="120"/>
                    </a:lnTo>
                    <a:close/>
                  </a:path>
                </a:pathLst>
              </a:custGeom>
              <a:grpFill/>
              <a:ln w="9525">
                <a:solidFill>
                  <a:srgbClr val="0070C0"/>
                </a:solidFill>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07" name="Freeform 93">
                <a:extLst>
                  <a:ext uri="{FF2B5EF4-FFF2-40B4-BE49-F238E27FC236}">
                    <a16:creationId xmlns:a16="http://schemas.microsoft.com/office/drawing/2014/main" id="{DB249897-5C64-4F5A-B1DD-E350674E4E8D}"/>
                  </a:ext>
                </a:extLst>
              </p:cNvPr>
              <p:cNvSpPr>
                <a:spLocks/>
              </p:cNvSpPr>
              <p:nvPr/>
            </p:nvSpPr>
            <p:spPr bwMode="auto">
              <a:xfrm>
                <a:off x="4083050" y="2736850"/>
                <a:ext cx="177800" cy="215900"/>
              </a:xfrm>
              <a:custGeom>
                <a:avLst/>
                <a:gdLst>
                  <a:gd name="T0" fmla="*/ 0 w 112"/>
                  <a:gd name="T1" fmla="*/ 0 h 136"/>
                  <a:gd name="T2" fmla="*/ 0 w 112"/>
                  <a:gd name="T3" fmla="*/ 32 h 136"/>
                  <a:gd name="T4" fmla="*/ 0 w 112"/>
                  <a:gd name="T5" fmla="*/ 32 h 136"/>
                  <a:gd name="T6" fmla="*/ 2 w 112"/>
                  <a:gd name="T7" fmla="*/ 40 h 136"/>
                  <a:gd name="T8" fmla="*/ 4 w 112"/>
                  <a:gd name="T9" fmla="*/ 50 h 136"/>
                  <a:gd name="T10" fmla="*/ 10 w 112"/>
                  <a:gd name="T11" fmla="*/ 60 h 136"/>
                  <a:gd name="T12" fmla="*/ 16 w 112"/>
                  <a:gd name="T13" fmla="*/ 68 h 136"/>
                  <a:gd name="T14" fmla="*/ 32 w 112"/>
                  <a:gd name="T15" fmla="*/ 86 h 136"/>
                  <a:gd name="T16" fmla="*/ 50 w 112"/>
                  <a:gd name="T17" fmla="*/ 102 h 136"/>
                  <a:gd name="T18" fmla="*/ 70 w 112"/>
                  <a:gd name="T19" fmla="*/ 116 h 136"/>
                  <a:gd name="T20" fmla="*/ 88 w 112"/>
                  <a:gd name="T21" fmla="*/ 126 h 136"/>
                  <a:gd name="T22" fmla="*/ 102 w 112"/>
                  <a:gd name="T23" fmla="*/ 134 h 136"/>
                  <a:gd name="T24" fmla="*/ 112 w 112"/>
                  <a:gd name="T25" fmla="*/ 136 h 136"/>
                  <a:gd name="T26" fmla="*/ 112 w 112"/>
                  <a:gd name="T27" fmla="*/ 0 h 136"/>
                  <a:gd name="T28" fmla="*/ 0 w 112"/>
                  <a:gd name="T2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36">
                    <a:moveTo>
                      <a:pt x="0" y="0"/>
                    </a:moveTo>
                    <a:lnTo>
                      <a:pt x="0" y="32"/>
                    </a:lnTo>
                    <a:lnTo>
                      <a:pt x="0" y="32"/>
                    </a:lnTo>
                    <a:lnTo>
                      <a:pt x="2" y="40"/>
                    </a:lnTo>
                    <a:lnTo>
                      <a:pt x="4" y="50"/>
                    </a:lnTo>
                    <a:lnTo>
                      <a:pt x="10" y="60"/>
                    </a:lnTo>
                    <a:lnTo>
                      <a:pt x="16" y="68"/>
                    </a:lnTo>
                    <a:lnTo>
                      <a:pt x="32" y="86"/>
                    </a:lnTo>
                    <a:lnTo>
                      <a:pt x="50" y="102"/>
                    </a:lnTo>
                    <a:lnTo>
                      <a:pt x="70" y="116"/>
                    </a:lnTo>
                    <a:lnTo>
                      <a:pt x="88" y="126"/>
                    </a:lnTo>
                    <a:lnTo>
                      <a:pt x="102" y="134"/>
                    </a:lnTo>
                    <a:lnTo>
                      <a:pt x="112" y="136"/>
                    </a:lnTo>
                    <a:lnTo>
                      <a:pt x="112" y="0"/>
                    </a:lnTo>
                    <a:lnTo>
                      <a:pt x="0" y="0"/>
                    </a:lnTo>
                    <a:close/>
                  </a:path>
                </a:pathLst>
              </a:custGeom>
              <a:grpFill/>
              <a:ln w="9525">
                <a:solidFill>
                  <a:srgbClr val="0070C0"/>
                </a:solidFill>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08" name="Line 94">
                <a:extLst>
                  <a:ext uri="{FF2B5EF4-FFF2-40B4-BE49-F238E27FC236}">
                    <a16:creationId xmlns:a16="http://schemas.microsoft.com/office/drawing/2014/main" id="{82D7EC01-4982-4976-BEE5-E2775997B42F}"/>
                  </a:ext>
                </a:extLst>
              </p:cNvPr>
              <p:cNvSpPr>
                <a:spLocks noChangeShapeType="1"/>
              </p:cNvSpPr>
              <p:nvPr/>
            </p:nvSpPr>
            <p:spPr bwMode="auto">
              <a:xfrm>
                <a:off x="4171950" y="24955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09" name="Line 95">
                <a:extLst>
                  <a:ext uri="{FF2B5EF4-FFF2-40B4-BE49-F238E27FC236}">
                    <a16:creationId xmlns:a16="http://schemas.microsoft.com/office/drawing/2014/main" id="{8902D187-1B01-4B28-B4B6-B6A54458BEA6}"/>
                  </a:ext>
                </a:extLst>
              </p:cNvPr>
              <p:cNvSpPr>
                <a:spLocks noChangeShapeType="1"/>
              </p:cNvSpPr>
              <p:nvPr/>
            </p:nvSpPr>
            <p:spPr bwMode="auto">
              <a:xfrm>
                <a:off x="4032250" y="2597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0" name="Line 96">
                <a:extLst>
                  <a:ext uri="{FF2B5EF4-FFF2-40B4-BE49-F238E27FC236}">
                    <a16:creationId xmlns:a16="http://schemas.microsoft.com/office/drawing/2014/main" id="{7605AF82-AD34-40C0-8121-A50DBE6D94F3}"/>
                  </a:ext>
                </a:extLst>
              </p:cNvPr>
              <p:cNvSpPr>
                <a:spLocks noChangeShapeType="1"/>
              </p:cNvSpPr>
              <p:nvPr/>
            </p:nvSpPr>
            <p:spPr bwMode="auto">
              <a:xfrm>
                <a:off x="4032250" y="2724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1" name="Line 97">
                <a:extLst>
                  <a:ext uri="{FF2B5EF4-FFF2-40B4-BE49-F238E27FC236}">
                    <a16:creationId xmlns:a16="http://schemas.microsoft.com/office/drawing/2014/main" id="{D276D645-1E23-4384-B9F9-5966463EC0DC}"/>
                  </a:ext>
                </a:extLst>
              </p:cNvPr>
              <p:cNvSpPr>
                <a:spLocks noChangeShapeType="1"/>
              </p:cNvSpPr>
              <p:nvPr/>
            </p:nvSpPr>
            <p:spPr bwMode="auto">
              <a:xfrm>
                <a:off x="4083050" y="28765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2" name="Line 98">
                <a:extLst>
                  <a:ext uri="{FF2B5EF4-FFF2-40B4-BE49-F238E27FC236}">
                    <a16:creationId xmlns:a16="http://schemas.microsoft.com/office/drawing/2014/main" id="{DB9BAD31-ED84-4375-B9CB-99436D873D9B}"/>
                  </a:ext>
                </a:extLst>
              </p:cNvPr>
              <p:cNvSpPr>
                <a:spLocks noChangeShapeType="1"/>
              </p:cNvSpPr>
              <p:nvPr/>
            </p:nvSpPr>
            <p:spPr bwMode="auto">
              <a:xfrm>
                <a:off x="4197350" y="29654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3" name="Line 99">
                <a:extLst>
                  <a:ext uri="{FF2B5EF4-FFF2-40B4-BE49-F238E27FC236}">
                    <a16:creationId xmlns:a16="http://schemas.microsoft.com/office/drawing/2014/main" id="{AC6B0B3F-AD8D-4B62-AD3C-7C7C43E9DABC}"/>
                  </a:ext>
                </a:extLst>
              </p:cNvPr>
              <p:cNvSpPr>
                <a:spLocks noChangeShapeType="1"/>
              </p:cNvSpPr>
              <p:nvPr/>
            </p:nvSpPr>
            <p:spPr bwMode="auto">
              <a:xfrm flipH="1">
                <a:off x="4324350" y="24955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4" name="Line 100">
                <a:extLst>
                  <a:ext uri="{FF2B5EF4-FFF2-40B4-BE49-F238E27FC236}">
                    <a16:creationId xmlns:a16="http://schemas.microsoft.com/office/drawing/2014/main" id="{335D8FC2-B321-41B4-90C3-CDB48401098E}"/>
                  </a:ext>
                </a:extLst>
              </p:cNvPr>
              <p:cNvSpPr>
                <a:spLocks noChangeShapeType="1"/>
              </p:cNvSpPr>
              <p:nvPr/>
            </p:nvSpPr>
            <p:spPr bwMode="auto">
              <a:xfrm>
                <a:off x="4489450" y="2597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5" name="Line 101">
                <a:extLst>
                  <a:ext uri="{FF2B5EF4-FFF2-40B4-BE49-F238E27FC236}">
                    <a16:creationId xmlns:a16="http://schemas.microsoft.com/office/drawing/2014/main" id="{AA37A303-6D80-4B9B-8FEB-1B19831FCEFE}"/>
                  </a:ext>
                </a:extLst>
              </p:cNvPr>
              <p:cNvSpPr>
                <a:spLocks noChangeShapeType="1"/>
              </p:cNvSpPr>
              <p:nvPr/>
            </p:nvSpPr>
            <p:spPr bwMode="auto">
              <a:xfrm>
                <a:off x="4489450" y="2724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6" name="Line 102">
                <a:extLst>
                  <a:ext uri="{FF2B5EF4-FFF2-40B4-BE49-F238E27FC236}">
                    <a16:creationId xmlns:a16="http://schemas.microsoft.com/office/drawing/2014/main" id="{1ED56685-A3C4-435E-8007-5C071BA6D774}"/>
                  </a:ext>
                </a:extLst>
              </p:cNvPr>
              <p:cNvSpPr>
                <a:spLocks noChangeShapeType="1"/>
              </p:cNvSpPr>
              <p:nvPr/>
            </p:nvSpPr>
            <p:spPr bwMode="auto">
              <a:xfrm>
                <a:off x="4438650" y="28765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7" name="Line 103">
                <a:extLst>
                  <a:ext uri="{FF2B5EF4-FFF2-40B4-BE49-F238E27FC236}">
                    <a16:creationId xmlns:a16="http://schemas.microsoft.com/office/drawing/2014/main" id="{16E83023-51B4-4CB3-9998-E4FFA67FF008}"/>
                  </a:ext>
                </a:extLst>
              </p:cNvPr>
              <p:cNvSpPr>
                <a:spLocks noChangeShapeType="1"/>
              </p:cNvSpPr>
              <p:nvPr/>
            </p:nvSpPr>
            <p:spPr bwMode="auto">
              <a:xfrm>
                <a:off x="4324350" y="29654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8" name="Freeform 104">
                <a:extLst>
                  <a:ext uri="{FF2B5EF4-FFF2-40B4-BE49-F238E27FC236}">
                    <a16:creationId xmlns:a16="http://schemas.microsoft.com/office/drawing/2014/main" id="{C9E737F5-0DCE-49AD-9286-DB4FAE93E3F3}"/>
                  </a:ext>
                </a:extLst>
              </p:cNvPr>
              <p:cNvSpPr>
                <a:spLocks/>
              </p:cNvSpPr>
              <p:nvPr/>
            </p:nvSpPr>
            <p:spPr bwMode="auto">
              <a:xfrm>
                <a:off x="4083050" y="2546350"/>
                <a:ext cx="355600" cy="406400"/>
              </a:xfrm>
              <a:custGeom>
                <a:avLst/>
                <a:gdLst>
                  <a:gd name="T0" fmla="*/ 112 w 224"/>
                  <a:gd name="T1" fmla="*/ 0 h 256"/>
                  <a:gd name="T2" fmla="*/ 178 w 224"/>
                  <a:gd name="T3" fmla="*/ 0 h 256"/>
                  <a:gd name="T4" fmla="*/ 178 w 224"/>
                  <a:gd name="T5" fmla="*/ 0 h 256"/>
                  <a:gd name="T6" fmla="*/ 182 w 224"/>
                  <a:gd name="T7" fmla="*/ 2 h 256"/>
                  <a:gd name="T8" fmla="*/ 186 w 224"/>
                  <a:gd name="T9" fmla="*/ 4 h 256"/>
                  <a:gd name="T10" fmla="*/ 186 w 224"/>
                  <a:gd name="T11" fmla="*/ 4 h 256"/>
                  <a:gd name="T12" fmla="*/ 190 w 224"/>
                  <a:gd name="T13" fmla="*/ 16 h 256"/>
                  <a:gd name="T14" fmla="*/ 198 w 224"/>
                  <a:gd name="T15" fmla="*/ 24 h 256"/>
                  <a:gd name="T16" fmla="*/ 208 w 224"/>
                  <a:gd name="T17" fmla="*/ 34 h 256"/>
                  <a:gd name="T18" fmla="*/ 218 w 224"/>
                  <a:gd name="T19" fmla="*/ 38 h 256"/>
                  <a:gd name="T20" fmla="*/ 218 w 224"/>
                  <a:gd name="T21" fmla="*/ 38 h 256"/>
                  <a:gd name="T22" fmla="*/ 222 w 224"/>
                  <a:gd name="T23" fmla="*/ 42 h 256"/>
                  <a:gd name="T24" fmla="*/ 224 w 224"/>
                  <a:gd name="T25" fmla="*/ 46 h 256"/>
                  <a:gd name="T26" fmla="*/ 224 w 224"/>
                  <a:gd name="T27" fmla="*/ 152 h 256"/>
                  <a:gd name="T28" fmla="*/ 224 w 224"/>
                  <a:gd name="T29" fmla="*/ 152 h 256"/>
                  <a:gd name="T30" fmla="*/ 222 w 224"/>
                  <a:gd name="T31" fmla="*/ 160 h 256"/>
                  <a:gd name="T32" fmla="*/ 220 w 224"/>
                  <a:gd name="T33" fmla="*/ 170 h 256"/>
                  <a:gd name="T34" fmla="*/ 214 w 224"/>
                  <a:gd name="T35" fmla="*/ 180 h 256"/>
                  <a:gd name="T36" fmla="*/ 208 w 224"/>
                  <a:gd name="T37" fmla="*/ 188 h 256"/>
                  <a:gd name="T38" fmla="*/ 192 w 224"/>
                  <a:gd name="T39" fmla="*/ 206 h 256"/>
                  <a:gd name="T40" fmla="*/ 174 w 224"/>
                  <a:gd name="T41" fmla="*/ 222 h 256"/>
                  <a:gd name="T42" fmla="*/ 154 w 224"/>
                  <a:gd name="T43" fmla="*/ 236 h 256"/>
                  <a:gd name="T44" fmla="*/ 136 w 224"/>
                  <a:gd name="T45" fmla="*/ 246 h 256"/>
                  <a:gd name="T46" fmla="*/ 122 w 224"/>
                  <a:gd name="T47" fmla="*/ 254 h 256"/>
                  <a:gd name="T48" fmla="*/ 112 w 224"/>
                  <a:gd name="T49" fmla="*/ 256 h 256"/>
                  <a:gd name="T50" fmla="*/ 112 w 224"/>
                  <a:gd name="T51" fmla="*/ 256 h 256"/>
                  <a:gd name="T52" fmla="*/ 102 w 224"/>
                  <a:gd name="T53" fmla="*/ 254 h 256"/>
                  <a:gd name="T54" fmla="*/ 88 w 224"/>
                  <a:gd name="T55" fmla="*/ 246 h 256"/>
                  <a:gd name="T56" fmla="*/ 70 w 224"/>
                  <a:gd name="T57" fmla="*/ 236 h 256"/>
                  <a:gd name="T58" fmla="*/ 50 w 224"/>
                  <a:gd name="T59" fmla="*/ 222 h 256"/>
                  <a:gd name="T60" fmla="*/ 32 w 224"/>
                  <a:gd name="T61" fmla="*/ 206 h 256"/>
                  <a:gd name="T62" fmla="*/ 16 w 224"/>
                  <a:gd name="T63" fmla="*/ 188 h 256"/>
                  <a:gd name="T64" fmla="*/ 10 w 224"/>
                  <a:gd name="T65" fmla="*/ 180 h 256"/>
                  <a:gd name="T66" fmla="*/ 4 w 224"/>
                  <a:gd name="T67" fmla="*/ 170 h 256"/>
                  <a:gd name="T68" fmla="*/ 2 w 224"/>
                  <a:gd name="T69" fmla="*/ 160 h 256"/>
                  <a:gd name="T70" fmla="*/ 0 w 224"/>
                  <a:gd name="T71" fmla="*/ 152 h 256"/>
                  <a:gd name="T72" fmla="*/ 0 w 224"/>
                  <a:gd name="T73" fmla="*/ 46 h 256"/>
                  <a:gd name="T74" fmla="*/ 0 w 224"/>
                  <a:gd name="T75" fmla="*/ 46 h 256"/>
                  <a:gd name="T76" fmla="*/ 2 w 224"/>
                  <a:gd name="T77" fmla="*/ 42 h 256"/>
                  <a:gd name="T78" fmla="*/ 6 w 224"/>
                  <a:gd name="T79" fmla="*/ 38 h 256"/>
                  <a:gd name="T80" fmla="*/ 6 w 224"/>
                  <a:gd name="T81" fmla="*/ 38 h 256"/>
                  <a:gd name="T82" fmla="*/ 16 w 224"/>
                  <a:gd name="T83" fmla="*/ 34 h 256"/>
                  <a:gd name="T84" fmla="*/ 26 w 224"/>
                  <a:gd name="T85" fmla="*/ 24 h 256"/>
                  <a:gd name="T86" fmla="*/ 34 w 224"/>
                  <a:gd name="T87" fmla="*/ 16 h 256"/>
                  <a:gd name="T88" fmla="*/ 38 w 224"/>
                  <a:gd name="T89" fmla="*/ 4 h 256"/>
                  <a:gd name="T90" fmla="*/ 38 w 224"/>
                  <a:gd name="T91" fmla="*/ 4 h 256"/>
                  <a:gd name="T92" fmla="*/ 42 w 224"/>
                  <a:gd name="T93" fmla="*/ 2 h 256"/>
                  <a:gd name="T94" fmla="*/ 46 w 224"/>
                  <a:gd name="T95" fmla="*/ 0 h 256"/>
                  <a:gd name="T96" fmla="*/ 112 w 224"/>
                  <a:gd name="T9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4" h="256">
                    <a:moveTo>
                      <a:pt x="112" y="0"/>
                    </a:moveTo>
                    <a:lnTo>
                      <a:pt x="178" y="0"/>
                    </a:lnTo>
                    <a:lnTo>
                      <a:pt x="178" y="0"/>
                    </a:lnTo>
                    <a:lnTo>
                      <a:pt x="182" y="2"/>
                    </a:lnTo>
                    <a:lnTo>
                      <a:pt x="186" y="4"/>
                    </a:lnTo>
                    <a:lnTo>
                      <a:pt x="186" y="4"/>
                    </a:lnTo>
                    <a:lnTo>
                      <a:pt x="190" y="16"/>
                    </a:lnTo>
                    <a:lnTo>
                      <a:pt x="198" y="24"/>
                    </a:lnTo>
                    <a:lnTo>
                      <a:pt x="208" y="34"/>
                    </a:lnTo>
                    <a:lnTo>
                      <a:pt x="218" y="38"/>
                    </a:lnTo>
                    <a:lnTo>
                      <a:pt x="218" y="38"/>
                    </a:lnTo>
                    <a:lnTo>
                      <a:pt x="222" y="42"/>
                    </a:lnTo>
                    <a:lnTo>
                      <a:pt x="224" y="46"/>
                    </a:lnTo>
                    <a:lnTo>
                      <a:pt x="224" y="152"/>
                    </a:lnTo>
                    <a:lnTo>
                      <a:pt x="224" y="152"/>
                    </a:lnTo>
                    <a:lnTo>
                      <a:pt x="222" y="160"/>
                    </a:lnTo>
                    <a:lnTo>
                      <a:pt x="220" y="170"/>
                    </a:lnTo>
                    <a:lnTo>
                      <a:pt x="214" y="180"/>
                    </a:lnTo>
                    <a:lnTo>
                      <a:pt x="208" y="188"/>
                    </a:lnTo>
                    <a:lnTo>
                      <a:pt x="192" y="206"/>
                    </a:lnTo>
                    <a:lnTo>
                      <a:pt x="174" y="222"/>
                    </a:lnTo>
                    <a:lnTo>
                      <a:pt x="154" y="236"/>
                    </a:lnTo>
                    <a:lnTo>
                      <a:pt x="136" y="246"/>
                    </a:lnTo>
                    <a:lnTo>
                      <a:pt x="122" y="254"/>
                    </a:lnTo>
                    <a:lnTo>
                      <a:pt x="112" y="256"/>
                    </a:lnTo>
                    <a:lnTo>
                      <a:pt x="112" y="256"/>
                    </a:lnTo>
                    <a:lnTo>
                      <a:pt x="102" y="254"/>
                    </a:lnTo>
                    <a:lnTo>
                      <a:pt x="88" y="246"/>
                    </a:lnTo>
                    <a:lnTo>
                      <a:pt x="70" y="236"/>
                    </a:lnTo>
                    <a:lnTo>
                      <a:pt x="50" y="222"/>
                    </a:lnTo>
                    <a:lnTo>
                      <a:pt x="32" y="206"/>
                    </a:lnTo>
                    <a:lnTo>
                      <a:pt x="16" y="188"/>
                    </a:lnTo>
                    <a:lnTo>
                      <a:pt x="10" y="180"/>
                    </a:lnTo>
                    <a:lnTo>
                      <a:pt x="4" y="170"/>
                    </a:lnTo>
                    <a:lnTo>
                      <a:pt x="2" y="160"/>
                    </a:lnTo>
                    <a:lnTo>
                      <a:pt x="0" y="152"/>
                    </a:lnTo>
                    <a:lnTo>
                      <a:pt x="0" y="46"/>
                    </a:lnTo>
                    <a:lnTo>
                      <a:pt x="0" y="46"/>
                    </a:lnTo>
                    <a:lnTo>
                      <a:pt x="2" y="42"/>
                    </a:lnTo>
                    <a:lnTo>
                      <a:pt x="6" y="38"/>
                    </a:lnTo>
                    <a:lnTo>
                      <a:pt x="6" y="38"/>
                    </a:lnTo>
                    <a:lnTo>
                      <a:pt x="16" y="34"/>
                    </a:lnTo>
                    <a:lnTo>
                      <a:pt x="26" y="24"/>
                    </a:lnTo>
                    <a:lnTo>
                      <a:pt x="34" y="16"/>
                    </a:lnTo>
                    <a:lnTo>
                      <a:pt x="38" y="4"/>
                    </a:lnTo>
                    <a:lnTo>
                      <a:pt x="38" y="4"/>
                    </a:lnTo>
                    <a:lnTo>
                      <a:pt x="42" y="2"/>
                    </a:lnTo>
                    <a:lnTo>
                      <a:pt x="46" y="0"/>
                    </a:lnTo>
                    <a:lnTo>
                      <a:pt x="112"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19" name="Line 105">
                <a:extLst>
                  <a:ext uri="{FF2B5EF4-FFF2-40B4-BE49-F238E27FC236}">
                    <a16:creationId xmlns:a16="http://schemas.microsoft.com/office/drawing/2014/main" id="{3025895E-A4B0-479C-989D-DD260C0F9093}"/>
                  </a:ext>
                </a:extLst>
              </p:cNvPr>
              <p:cNvSpPr>
                <a:spLocks noChangeShapeType="1"/>
              </p:cNvSpPr>
              <p:nvPr/>
            </p:nvSpPr>
            <p:spPr bwMode="auto">
              <a:xfrm>
                <a:off x="4083050" y="2736850"/>
                <a:ext cx="3556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sp>
            <p:nvSpPr>
              <p:cNvPr id="120" name="Line 106">
                <a:extLst>
                  <a:ext uri="{FF2B5EF4-FFF2-40B4-BE49-F238E27FC236}">
                    <a16:creationId xmlns:a16="http://schemas.microsoft.com/office/drawing/2014/main" id="{61B10BA1-9AEE-444F-B743-69AD8B16A428}"/>
                  </a:ext>
                </a:extLst>
              </p:cNvPr>
              <p:cNvSpPr>
                <a:spLocks noChangeShapeType="1"/>
              </p:cNvSpPr>
              <p:nvPr/>
            </p:nvSpPr>
            <p:spPr bwMode="auto">
              <a:xfrm>
                <a:off x="4260850" y="2546350"/>
                <a:ext cx="0" cy="406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b="1"/>
              </a:p>
            </p:txBody>
          </p:sp>
        </p:grpSp>
      </p:grpSp>
      <p:cxnSp>
        <p:nvCxnSpPr>
          <p:cNvPr id="169" name="Straight Connector 168">
            <a:extLst>
              <a:ext uri="{FF2B5EF4-FFF2-40B4-BE49-F238E27FC236}">
                <a16:creationId xmlns:a16="http://schemas.microsoft.com/office/drawing/2014/main" id="{031E953C-2768-40F5-8194-8E26AA95098A}"/>
              </a:ext>
            </a:extLst>
          </p:cNvPr>
          <p:cNvCxnSpPr>
            <a:cxnSpLocks/>
          </p:cNvCxnSpPr>
          <p:nvPr/>
        </p:nvCxnSpPr>
        <p:spPr>
          <a:xfrm>
            <a:off x="3337185" y="3864728"/>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lang="en-US" sz="2750">
                <a:solidFill>
                  <a:srgbClr val="0069B4"/>
                </a:solidFill>
                <a:latin typeface="Calibri Light" panose="020F0302020204030204"/>
              </a:rPr>
              <a:t>What should you expect out of the CDO role?</a:t>
            </a:r>
            <a:endPar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endParaRPr>
          </a:p>
        </p:txBody>
      </p:sp>
      <p:sp>
        <p:nvSpPr>
          <p:cNvPr id="46" name="Rechteck 65">
            <a:extLst>
              <a:ext uri="{FF2B5EF4-FFF2-40B4-BE49-F238E27FC236}">
                <a16:creationId xmlns:a16="http://schemas.microsoft.com/office/drawing/2014/main" id="{6325A245-FDA0-4C02-AD84-14B4BD605971}"/>
              </a:ext>
            </a:extLst>
          </p:cNvPr>
          <p:cNvSpPr/>
          <p:nvPr/>
        </p:nvSpPr>
        <p:spPr>
          <a:xfrm>
            <a:off x="1533957" y="864361"/>
            <a:ext cx="1402070" cy="5907407"/>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0 w 1474085"/>
              <a:gd name="connsiteY0" fmla="*/ 0 h 2933207"/>
              <a:gd name="connsiteX1" fmla="*/ 1474085 w 1474085"/>
              <a:gd name="connsiteY1" fmla="*/ 2933207 h 2933207"/>
              <a:gd name="connsiteX2" fmla="*/ 254000 w 1474085"/>
              <a:gd name="connsiteY2" fmla="*/ 254000 h 2933207"/>
              <a:gd name="connsiteX3" fmla="*/ 0 w 1474085"/>
              <a:gd name="connsiteY3" fmla="*/ 254000 h 2933207"/>
              <a:gd name="connsiteX4" fmla="*/ 0 w 1474085"/>
              <a:gd name="connsiteY4" fmla="*/ 0 h 2933207"/>
              <a:gd name="connsiteX0" fmla="*/ 1474085 w 1474085"/>
              <a:gd name="connsiteY0" fmla="*/ 4496292 h 4496292"/>
              <a:gd name="connsiteX1" fmla="*/ 1474085 w 1474085"/>
              <a:gd name="connsiteY1" fmla="*/ 2933207 h 4496292"/>
              <a:gd name="connsiteX2" fmla="*/ 254000 w 1474085"/>
              <a:gd name="connsiteY2" fmla="*/ 254000 h 4496292"/>
              <a:gd name="connsiteX3" fmla="*/ 0 w 1474085"/>
              <a:gd name="connsiteY3" fmla="*/ 254000 h 4496292"/>
              <a:gd name="connsiteX4" fmla="*/ 0 w 1474085"/>
              <a:gd name="connsiteY4" fmla="*/ 0 h 4496292"/>
              <a:gd name="connsiteX0" fmla="*/ 1474085 w 2086993"/>
              <a:gd name="connsiteY0" fmla="*/ 4496292 h 4496292"/>
              <a:gd name="connsiteX1" fmla="*/ 1474085 w 2086993"/>
              <a:gd name="connsiteY1" fmla="*/ 2933207 h 4496292"/>
              <a:gd name="connsiteX2" fmla="*/ 2086993 w 2086993"/>
              <a:gd name="connsiteY2" fmla="*/ 1307657 h 4496292"/>
              <a:gd name="connsiteX3" fmla="*/ 0 w 2086993"/>
              <a:gd name="connsiteY3" fmla="*/ 254000 h 4496292"/>
              <a:gd name="connsiteX4" fmla="*/ 0 w 2086993"/>
              <a:gd name="connsiteY4" fmla="*/ 0 h 4496292"/>
              <a:gd name="connsiteX0" fmla="*/ 1474085 w 2086993"/>
              <a:gd name="connsiteY0" fmla="*/ 4496292 h 5982142"/>
              <a:gd name="connsiteX1" fmla="*/ 1474085 w 2086993"/>
              <a:gd name="connsiteY1" fmla="*/ 2933207 h 5982142"/>
              <a:gd name="connsiteX2" fmla="*/ 2086993 w 2086993"/>
              <a:gd name="connsiteY2" fmla="*/ 1307657 h 5982142"/>
              <a:gd name="connsiteX3" fmla="*/ 2086993 w 2086993"/>
              <a:gd name="connsiteY3" fmla="*/ 5982142 h 5982142"/>
              <a:gd name="connsiteX4" fmla="*/ 0 w 2086993"/>
              <a:gd name="connsiteY4" fmla="*/ 0 h 5982142"/>
              <a:gd name="connsiteX0" fmla="*/ 0 w 612908"/>
              <a:gd name="connsiteY0" fmla="*/ 3188635 h 4674485"/>
              <a:gd name="connsiteX1" fmla="*/ 0 w 612908"/>
              <a:gd name="connsiteY1" fmla="*/ 1625550 h 4674485"/>
              <a:gd name="connsiteX2" fmla="*/ 612908 w 612908"/>
              <a:gd name="connsiteY2" fmla="*/ 0 h 4674485"/>
              <a:gd name="connsiteX3" fmla="*/ 612908 w 612908"/>
              <a:gd name="connsiteY3" fmla="*/ 4674485 h 4674485"/>
              <a:gd name="connsiteX0" fmla="*/ 0 w 612908"/>
              <a:gd name="connsiteY0" fmla="*/ 3188635 h 4674485"/>
              <a:gd name="connsiteX1" fmla="*/ 50359 w 612908"/>
              <a:gd name="connsiteY1" fmla="*/ 1435393 h 4674485"/>
              <a:gd name="connsiteX2" fmla="*/ 612908 w 612908"/>
              <a:gd name="connsiteY2" fmla="*/ 0 h 4674485"/>
              <a:gd name="connsiteX3" fmla="*/ 612908 w 612908"/>
              <a:gd name="connsiteY3" fmla="*/ 4674485 h 4674485"/>
              <a:gd name="connsiteX4" fmla="*/ 0 w 612908"/>
              <a:gd name="connsiteY4" fmla="*/ 3188635 h 4674485"/>
              <a:gd name="connsiteX0" fmla="*/ 4578 w 562549"/>
              <a:gd name="connsiteY0" fmla="*/ 3274206 h 4674485"/>
              <a:gd name="connsiteX1" fmla="*/ 0 w 562549"/>
              <a:gd name="connsiteY1" fmla="*/ 1435393 h 4674485"/>
              <a:gd name="connsiteX2" fmla="*/ 562549 w 562549"/>
              <a:gd name="connsiteY2" fmla="*/ 0 h 4674485"/>
              <a:gd name="connsiteX3" fmla="*/ 562549 w 562549"/>
              <a:gd name="connsiteY3" fmla="*/ 4674485 h 4674485"/>
              <a:gd name="connsiteX4" fmla="*/ 4578 w 562549"/>
              <a:gd name="connsiteY4" fmla="*/ 3274206 h 46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49" h="4674485">
                <a:moveTo>
                  <a:pt x="4578" y="3274206"/>
                </a:moveTo>
                <a:lnTo>
                  <a:pt x="0" y="1435393"/>
                </a:lnTo>
                <a:lnTo>
                  <a:pt x="562549" y="0"/>
                </a:lnTo>
                <a:lnTo>
                  <a:pt x="562549" y="4674485"/>
                </a:lnTo>
                <a:lnTo>
                  <a:pt x="4578" y="3274206"/>
                </a:lnTo>
                <a:close/>
              </a:path>
            </a:pathLst>
          </a:custGeom>
          <a:gradFill flip="none" rotWithShape="1">
            <a:gsLst>
              <a:gs pos="0">
                <a:schemeClr val="tx2">
                  <a:lumMod val="75000"/>
                  <a:lumOff val="25000"/>
                </a:schemeClr>
              </a:gs>
              <a:gs pos="100000">
                <a:srgbClr val="FFFFFF">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99">
              <a:solidFill>
                <a:schemeClr val="bg1"/>
              </a:solidFill>
              <a:latin typeface="EYInterstate Light" panose="02000506000000020004" pitchFamily="2" charset="0"/>
              <a:sym typeface="EYInterstate Light" panose="02000506000000020004" pitchFamily="2" charset="0"/>
            </a:endParaRPr>
          </a:p>
        </p:txBody>
      </p:sp>
      <p:sp>
        <p:nvSpPr>
          <p:cNvPr id="51" name="Rectangle 14">
            <a:extLst>
              <a:ext uri="{FF2B5EF4-FFF2-40B4-BE49-F238E27FC236}">
                <a16:creationId xmlns:a16="http://schemas.microsoft.com/office/drawing/2014/main" id="{AD416784-F490-46AF-B524-BD7AE0620066}"/>
              </a:ext>
            </a:extLst>
          </p:cNvPr>
          <p:cNvSpPr>
            <a:spLocks noChangeAspect="1" noChangeArrowheads="1"/>
          </p:cNvSpPr>
          <p:nvPr/>
        </p:nvSpPr>
        <p:spPr bwMode="auto">
          <a:xfrm>
            <a:off x="350202" y="2589339"/>
            <a:ext cx="2429884" cy="2407875"/>
          </a:xfrm>
          <a:prstGeom prst="ellipse">
            <a:avLst/>
          </a:prstGeom>
          <a:solidFill>
            <a:schemeClr val="bg2"/>
          </a:solidFill>
          <a:ln w="28575"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eaLnBrk="0" hangingPunct="0"/>
            <a:endParaRPr lang="en-US" sz="1199" b="1">
              <a:solidFill>
                <a:schemeClr val="tx2"/>
              </a:solidFill>
              <a:latin typeface="EYInterstate Light" panose="02000506000000020004" pitchFamily="2" charset="0"/>
              <a:sym typeface="EYInterstate Light" panose="02000506000000020004" pitchFamily="2" charset="0"/>
            </a:endParaRPr>
          </a:p>
        </p:txBody>
      </p:sp>
      <p:sp>
        <p:nvSpPr>
          <p:cNvPr id="52" name="Rectangle 14">
            <a:extLst>
              <a:ext uri="{FF2B5EF4-FFF2-40B4-BE49-F238E27FC236}">
                <a16:creationId xmlns:a16="http://schemas.microsoft.com/office/drawing/2014/main" id="{6B0C9515-1FE9-488D-8935-BD01C28D7631}"/>
              </a:ext>
            </a:extLst>
          </p:cNvPr>
          <p:cNvSpPr>
            <a:spLocks noChangeAspect="1" noChangeArrowheads="1"/>
          </p:cNvSpPr>
          <p:nvPr/>
        </p:nvSpPr>
        <p:spPr bwMode="auto">
          <a:xfrm>
            <a:off x="555635" y="2794774"/>
            <a:ext cx="2023631" cy="2005298"/>
          </a:xfrm>
          <a:prstGeom prst="ellipse">
            <a:avLst/>
          </a:prstGeom>
          <a:solidFill>
            <a:schemeClr val="tx2">
              <a:lumMod val="90000"/>
              <a:lumOff val="10000"/>
            </a:schemeClr>
          </a:solidFill>
          <a:ln w="76200"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algn="ctr" eaLnBrk="0" hangingPunct="0"/>
            <a:endParaRPr lang="en-US" sz="3200" b="1">
              <a:solidFill>
                <a:schemeClr val="bg1"/>
              </a:solidFill>
              <a:latin typeface="EYInterstate Light" panose="02000506000000020004" pitchFamily="2" charset="0"/>
              <a:sym typeface="EYInterstate Light" panose="02000506000000020004" pitchFamily="2" charset="0"/>
            </a:endParaRPr>
          </a:p>
          <a:p>
            <a:pPr algn="ctr" eaLnBrk="0" hangingPunct="0"/>
            <a:r>
              <a:rPr lang="en-US" sz="3200" b="1">
                <a:solidFill>
                  <a:schemeClr val="bg1"/>
                </a:solidFill>
                <a:latin typeface="EYInterstate Light" panose="02000506000000020004" pitchFamily="2" charset="0"/>
                <a:sym typeface="EYInterstate Light" panose="02000506000000020004" pitchFamily="2" charset="0"/>
              </a:rPr>
              <a:t>CDO</a:t>
            </a:r>
            <a:endParaRPr lang="en-US" sz="1199" b="1">
              <a:solidFill>
                <a:schemeClr val="bg1"/>
              </a:solidFill>
              <a:latin typeface="EYInterstate Light" panose="02000506000000020004" pitchFamily="2" charset="0"/>
              <a:sym typeface="EYInterstate Light" panose="02000506000000020004" pitchFamily="2" charset="0"/>
            </a:endParaRPr>
          </a:p>
        </p:txBody>
      </p:sp>
      <p:grpSp>
        <p:nvGrpSpPr>
          <p:cNvPr id="61" name="Group 60">
            <a:extLst>
              <a:ext uri="{FF2B5EF4-FFF2-40B4-BE49-F238E27FC236}">
                <a16:creationId xmlns:a16="http://schemas.microsoft.com/office/drawing/2014/main" id="{1C09C10F-37FA-4CDC-BE92-1AD2DD2BF7A5}"/>
              </a:ext>
            </a:extLst>
          </p:cNvPr>
          <p:cNvGrpSpPr>
            <a:grpSpLocks noChangeAspect="1"/>
          </p:cNvGrpSpPr>
          <p:nvPr/>
        </p:nvGrpSpPr>
        <p:grpSpPr>
          <a:xfrm>
            <a:off x="1286929" y="3136443"/>
            <a:ext cx="552311" cy="684543"/>
            <a:chOff x="4881563" y="1509713"/>
            <a:chExt cx="531812" cy="665162"/>
          </a:xfrm>
          <a:solidFill>
            <a:schemeClr val="accent1"/>
          </a:solidFill>
        </p:grpSpPr>
        <p:sp>
          <p:nvSpPr>
            <p:cNvPr id="62" name="Freeform 25">
              <a:extLst>
                <a:ext uri="{FF2B5EF4-FFF2-40B4-BE49-F238E27FC236}">
                  <a16:creationId xmlns:a16="http://schemas.microsoft.com/office/drawing/2014/main" id="{75916BE1-2F58-40B0-94A7-69F823FD2AFA}"/>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26">
              <a:extLst>
                <a:ext uri="{FF2B5EF4-FFF2-40B4-BE49-F238E27FC236}">
                  <a16:creationId xmlns:a16="http://schemas.microsoft.com/office/drawing/2014/main" id="{F9AA0A88-04E5-435F-BE5F-1260E69ED24D}"/>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27">
              <a:extLst>
                <a:ext uri="{FF2B5EF4-FFF2-40B4-BE49-F238E27FC236}">
                  <a16:creationId xmlns:a16="http://schemas.microsoft.com/office/drawing/2014/main" id="{FF2309F1-F197-4FFA-BBE0-9ADA7E489BB2}"/>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28">
              <a:extLst>
                <a:ext uri="{FF2B5EF4-FFF2-40B4-BE49-F238E27FC236}">
                  <a16:creationId xmlns:a16="http://schemas.microsoft.com/office/drawing/2014/main" id="{010FE00D-2FA6-441A-85BE-C93A69DC876B}"/>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
              <a:extLst>
                <a:ext uri="{FF2B5EF4-FFF2-40B4-BE49-F238E27FC236}">
                  <a16:creationId xmlns:a16="http://schemas.microsoft.com/office/drawing/2014/main" id="{667A7AB8-E84F-4E67-8541-9A814988FA4B}"/>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30">
              <a:extLst>
                <a:ext uri="{FF2B5EF4-FFF2-40B4-BE49-F238E27FC236}">
                  <a16:creationId xmlns:a16="http://schemas.microsoft.com/office/drawing/2014/main" id="{AEB0427B-A93E-4F78-BEF9-0773A2CBC411}"/>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5" name="Rectangle 9">
            <a:extLst>
              <a:ext uri="{FF2B5EF4-FFF2-40B4-BE49-F238E27FC236}">
                <a16:creationId xmlns:a16="http://schemas.microsoft.com/office/drawing/2014/main" id="{424E3FED-8AB2-497D-B9E9-E887ED173687}"/>
              </a:ext>
            </a:extLst>
          </p:cNvPr>
          <p:cNvSpPr>
            <a:spLocks noChangeArrowheads="1"/>
          </p:cNvSpPr>
          <p:nvPr/>
        </p:nvSpPr>
        <p:spPr bwMode="gray">
          <a:xfrm>
            <a:off x="5907872" y="4941035"/>
            <a:ext cx="5650610" cy="387798"/>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chemeClr val="tx2">
                  <a:lumMod val="90000"/>
                  <a:lumOff val="10000"/>
                </a:schemeClr>
              </a:buClr>
              <a:buSzPct val="75000"/>
            </a:pPr>
            <a:r>
              <a:rPr lang="en-US" sz="1400">
                <a:ea typeface="Calibri"/>
                <a:cs typeface="Calibri"/>
              </a:rPr>
              <a:t>Guide and cooperate analytics leadership to conduct analysis in a way that gives meaning to raw data, in order to transform it into usable knowledge.</a:t>
            </a:r>
            <a:endParaRPr lang="en-US" altLang="de-DE" sz="1400">
              <a:latin typeface="EYInterstate Light" panose="02000506000000020004" pitchFamily="2" charset="0"/>
              <a:sym typeface="EYInterstate Light" panose="02000506000000020004" pitchFamily="2" charset="0"/>
            </a:endParaRPr>
          </a:p>
        </p:txBody>
      </p:sp>
      <p:cxnSp>
        <p:nvCxnSpPr>
          <p:cNvPr id="47" name="Straight Connector 46">
            <a:extLst>
              <a:ext uri="{FF2B5EF4-FFF2-40B4-BE49-F238E27FC236}">
                <a16:creationId xmlns:a16="http://schemas.microsoft.com/office/drawing/2014/main" id="{D1590280-BE0F-4557-89F6-40748E529A1B}"/>
              </a:ext>
            </a:extLst>
          </p:cNvPr>
          <p:cNvCxnSpPr>
            <a:cxnSpLocks/>
          </p:cNvCxnSpPr>
          <p:nvPr/>
        </p:nvCxnSpPr>
        <p:spPr>
          <a:xfrm>
            <a:off x="3337187" y="557087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84D18BA3-3CC2-47B3-85B7-77CC6EE6825A}"/>
              </a:ext>
            </a:extLst>
          </p:cNvPr>
          <p:cNvSpPr>
            <a:spLocks noChangeArrowheads="1"/>
          </p:cNvSpPr>
          <p:nvPr/>
        </p:nvSpPr>
        <p:spPr bwMode="gray">
          <a:xfrm>
            <a:off x="4043192" y="501214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r>
              <a:rPr lang="en-US" sz="1400" b="1">
                <a:latin typeface="EYInterstate Light" panose="02000506000000020004" pitchFamily="2" charset="0"/>
                <a:sym typeface="EYInterstate Light" panose="02000506000000020004" pitchFamily="2" charset="0"/>
              </a:rPr>
              <a:t>Data &amp; Analytics</a:t>
            </a:r>
          </a:p>
        </p:txBody>
      </p:sp>
      <p:sp>
        <p:nvSpPr>
          <p:cNvPr id="56" name="Freeform 6">
            <a:extLst>
              <a:ext uri="{FF2B5EF4-FFF2-40B4-BE49-F238E27FC236}">
                <a16:creationId xmlns:a16="http://schemas.microsoft.com/office/drawing/2014/main" id="{6118C6DF-DBDC-422F-9763-C465B415A1FB}"/>
              </a:ext>
            </a:extLst>
          </p:cNvPr>
          <p:cNvSpPr>
            <a:spLocks noChangeAspect="1" noChangeArrowheads="1"/>
          </p:cNvSpPr>
          <p:nvPr/>
        </p:nvSpPr>
        <p:spPr bwMode="auto">
          <a:xfrm>
            <a:off x="3323157" y="4968170"/>
            <a:ext cx="485174" cy="360663"/>
          </a:xfrm>
          <a:custGeom>
            <a:avLst/>
            <a:gdLst>
              <a:gd name="connsiteX0" fmla="*/ 1048678 w 1145117"/>
              <a:gd name="connsiteY0" fmla="*/ 645265 h 764815"/>
              <a:gd name="connsiteX1" fmla="*/ 1064235 w 1145117"/>
              <a:gd name="connsiteY1" fmla="*/ 651889 h 764815"/>
              <a:gd name="connsiteX2" fmla="*/ 1063878 w 1145117"/>
              <a:gd name="connsiteY2" fmla="*/ 683400 h 764815"/>
              <a:gd name="connsiteX3" fmla="*/ 1048187 w 1145117"/>
              <a:gd name="connsiteY3" fmla="*/ 690204 h 764815"/>
              <a:gd name="connsiteX4" fmla="*/ 1032496 w 1145117"/>
              <a:gd name="connsiteY4" fmla="*/ 683758 h 764815"/>
              <a:gd name="connsiteX5" fmla="*/ 1032496 w 1145117"/>
              <a:gd name="connsiteY5" fmla="*/ 652247 h 764815"/>
              <a:gd name="connsiteX6" fmla="*/ 1032853 w 1145117"/>
              <a:gd name="connsiteY6" fmla="*/ 651531 h 764815"/>
              <a:gd name="connsiteX7" fmla="*/ 1048678 w 1145117"/>
              <a:gd name="connsiteY7" fmla="*/ 645265 h 764815"/>
              <a:gd name="connsiteX8" fmla="*/ 572411 w 1145117"/>
              <a:gd name="connsiteY8" fmla="*/ 533500 h 764815"/>
              <a:gd name="connsiteX9" fmla="*/ 541110 w 1145117"/>
              <a:gd name="connsiteY9" fmla="*/ 564798 h 764815"/>
              <a:gd name="connsiteX10" fmla="*/ 572411 w 1145117"/>
              <a:gd name="connsiteY10" fmla="*/ 596096 h 764815"/>
              <a:gd name="connsiteX11" fmla="*/ 603711 w 1145117"/>
              <a:gd name="connsiteY11" fmla="*/ 564798 h 764815"/>
              <a:gd name="connsiteX12" fmla="*/ 572411 w 1145117"/>
              <a:gd name="connsiteY12" fmla="*/ 533500 h 764815"/>
              <a:gd name="connsiteX13" fmla="*/ 274872 w 1145117"/>
              <a:gd name="connsiteY13" fmla="*/ 259016 h 764815"/>
              <a:gd name="connsiteX14" fmla="*/ 44613 w 1145117"/>
              <a:gd name="connsiteY14" fmla="*/ 489611 h 764815"/>
              <a:gd name="connsiteX15" fmla="*/ 82390 w 1145117"/>
              <a:gd name="connsiteY15" fmla="*/ 616241 h 764815"/>
              <a:gd name="connsiteX16" fmla="*/ 212630 w 1145117"/>
              <a:gd name="connsiteY16" fmla="*/ 486014 h 764815"/>
              <a:gd name="connsiteX17" fmla="*/ 228461 w 1145117"/>
              <a:gd name="connsiteY17" fmla="*/ 479539 h 764815"/>
              <a:gd name="connsiteX18" fmla="*/ 244291 w 1145117"/>
              <a:gd name="connsiteY18" fmla="*/ 486014 h 764815"/>
              <a:gd name="connsiteX19" fmla="*/ 290343 w 1145117"/>
              <a:gd name="connsiteY19" fmla="*/ 532061 h 764815"/>
              <a:gd name="connsiteX20" fmla="*/ 342151 w 1145117"/>
              <a:gd name="connsiteY20" fmla="*/ 480618 h 764815"/>
              <a:gd name="connsiteX21" fmla="*/ 325242 w 1145117"/>
              <a:gd name="connsiteY21" fmla="*/ 459033 h 764815"/>
              <a:gd name="connsiteX22" fmla="*/ 347908 w 1145117"/>
              <a:gd name="connsiteY22" fmla="*/ 436729 h 764815"/>
              <a:gd name="connsiteX23" fmla="*/ 395039 w 1145117"/>
              <a:gd name="connsiteY23" fmla="*/ 436729 h 764815"/>
              <a:gd name="connsiteX24" fmla="*/ 417345 w 1145117"/>
              <a:gd name="connsiteY24" fmla="*/ 459033 h 764815"/>
              <a:gd name="connsiteX25" fmla="*/ 417345 w 1145117"/>
              <a:gd name="connsiteY25" fmla="*/ 506519 h 764815"/>
              <a:gd name="connsiteX26" fmla="*/ 395039 w 1145117"/>
              <a:gd name="connsiteY26" fmla="*/ 528823 h 764815"/>
              <a:gd name="connsiteX27" fmla="*/ 373452 w 1145117"/>
              <a:gd name="connsiteY27" fmla="*/ 512275 h 764815"/>
              <a:gd name="connsiteX28" fmla="*/ 306173 w 1145117"/>
              <a:gd name="connsiteY28" fmla="*/ 579547 h 764815"/>
              <a:gd name="connsiteX29" fmla="*/ 274513 w 1145117"/>
              <a:gd name="connsiteY29" fmla="*/ 579547 h 764815"/>
              <a:gd name="connsiteX30" fmla="*/ 228461 w 1145117"/>
              <a:gd name="connsiteY30" fmla="*/ 533500 h 764815"/>
              <a:gd name="connsiteX31" fmla="*/ 110813 w 1145117"/>
              <a:gd name="connsiteY31" fmla="*/ 651136 h 764815"/>
              <a:gd name="connsiteX32" fmla="*/ 274872 w 1145117"/>
              <a:gd name="connsiteY32" fmla="*/ 719847 h 764815"/>
              <a:gd name="connsiteX33" fmla="*/ 505491 w 1145117"/>
              <a:gd name="connsiteY33" fmla="*/ 489611 h 764815"/>
              <a:gd name="connsiteX34" fmla="*/ 274872 w 1145117"/>
              <a:gd name="connsiteY34" fmla="*/ 259016 h 764815"/>
              <a:gd name="connsiteX35" fmla="*/ 526872 w 1145117"/>
              <a:gd name="connsiteY35" fmla="*/ 153987 h 764815"/>
              <a:gd name="connsiteX36" fmla="*/ 542519 w 1145117"/>
              <a:gd name="connsiteY36" fmla="*/ 160388 h 764815"/>
              <a:gd name="connsiteX37" fmla="*/ 548920 w 1145117"/>
              <a:gd name="connsiteY37" fmla="*/ 176034 h 764815"/>
              <a:gd name="connsiteX38" fmla="*/ 542519 w 1145117"/>
              <a:gd name="connsiteY38" fmla="*/ 191681 h 764815"/>
              <a:gd name="connsiteX39" fmla="*/ 526872 w 1145117"/>
              <a:gd name="connsiteY39" fmla="*/ 198081 h 764815"/>
              <a:gd name="connsiteX40" fmla="*/ 511226 w 1145117"/>
              <a:gd name="connsiteY40" fmla="*/ 191681 h 764815"/>
              <a:gd name="connsiteX41" fmla="*/ 504825 w 1145117"/>
              <a:gd name="connsiteY41" fmla="*/ 176034 h 764815"/>
              <a:gd name="connsiteX42" fmla="*/ 511226 w 1145117"/>
              <a:gd name="connsiteY42" fmla="*/ 160388 h 764815"/>
              <a:gd name="connsiteX43" fmla="*/ 526872 w 1145117"/>
              <a:gd name="connsiteY43" fmla="*/ 153987 h 764815"/>
              <a:gd name="connsiteX44" fmla="*/ 572770 w 1145117"/>
              <a:gd name="connsiteY44" fmla="*/ 44608 h 764815"/>
              <a:gd name="connsiteX45" fmla="*/ 534274 w 1145117"/>
              <a:gd name="connsiteY45" fmla="*/ 83461 h 764815"/>
              <a:gd name="connsiteX46" fmla="*/ 511968 w 1145117"/>
              <a:gd name="connsiteY46" fmla="*/ 105765 h 764815"/>
              <a:gd name="connsiteX47" fmla="*/ 304734 w 1145117"/>
              <a:gd name="connsiteY47" fmla="*/ 105765 h 764815"/>
              <a:gd name="connsiteX48" fmla="*/ 215509 w 1145117"/>
              <a:gd name="connsiteY48" fmla="*/ 154690 h 764815"/>
              <a:gd name="connsiteX49" fmla="*/ 161901 w 1145117"/>
              <a:gd name="connsiteY49" fmla="*/ 238510 h 764815"/>
              <a:gd name="connsiteX50" fmla="*/ 274872 w 1145117"/>
              <a:gd name="connsiteY50" fmla="*/ 214407 h 764815"/>
              <a:gd name="connsiteX51" fmla="*/ 505491 w 1145117"/>
              <a:gd name="connsiteY51" fmla="*/ 339238 h 764815"/>
              <a:gd name="connsiteX52" fmla="*/ 505491 w 1145117"/>
              <a:gd name="connsiteY52" fmla="*/ 252540 h 764815"/>
              <a:gd name="connsiteX53" fmla="*/ 527798 w 1145117"/>
              <a:gd name="connsiteY53" fmla="*/ 230236 h 764815"/>
              <a:gd name="connsiteX54" fmla="*/ 550104 w 1145117"/>
              <a:gd name="connsiteY54" fmla="*/ 252540 h 764815"/>
              <a:gd name="connsiteX55" fmla="*/ 550104 w 1145117"/>
              <a:gd name="connsiteY55" fmla="*/ 489611 h 764815"/>
              <a:gd name="connsiteX56" fmla="*/ 550104 w 1145117"/>
              <a:gd name="connsiteY56" fmla="*/ 492130 h 764815"/>
              <a:gd name="connsiteX57" fmla="*/ 572411 w 1145117"/>
              <a:gd name="connsiteY57" fmla="*/ 488892 h 764815"/>
              <a:gd name="connsiteX58" fmla="*/ 595077 w 1145117"/>
              <a:gd name="connsiteY58" fmla="*/ 492130 h 764815"/>
              <a:gd name="connsiteX59" fmla="*/ 595077 w 1145117"/>
              <a:gd name="connsiteY59" fmla="*/ 489611 h 764815"/>
              <a:gd name="connsiteX60" fmla="*/ 595077 w 1145117"/>
              <a:gd name="connsiteY60" fmla="*/ 176634 h 764815"/>
              <a:gd name="connsiteX61" fmla="*/ 617023 w 1145117"/>
              <a:gd name="connsiteY61" fmla="*/ 154330 h 764815"/>
              <a:gd name="connsiteX62" fmla="*/ 639689 w 1145117"/>
              <a:gd name="connsiteY62" fmla="*/ 176634 h 764815"/>
              <a:gd name="connsiteX63" fmla="*/ 639689 w 1145117"/>
              <a:gd name="connsiteY63" fmla="*/ 338879 h 764815"/>
              <a:gd name="connsiteX64" fmla="*/ 675308 w 1145117"/>
              <a:gd name="connsiteY64" fmla="*/ 294990 h 764815"/>
              <a:gd name="connsiteX65" fmla="*/ 982920 w 1145117"/>
              <a:gd name="connsiteY65" fmla="*/ 238510 h 764815"/>
              <a:gd name="connsiteX66" fmla="*/ 929313 w 1145117"/>
              <a:gd name="connsiteY66" fmla="*/ 154690 h 764815"/>
              <a:gd name="connsiteX67" fmla="*/ 840087 w 1145117"/>
              <a:gd name="connsiteY67" fmla="*/ 105765 h 764815"/>
              <a:gd name="connsiteX68" fmla="*/ 633573 w 1145117"/>
              <a:gd name="connsiteY68" fmla="*/ 105765 h 764815"/>
              <a:gd name="connsiteX69" fmla="*/ 611267 w 1145117"/>
              <a:gd name="connsiteY69" fmla="*/ 83461 h 764815"/>
              <a:gd name="connsiteX70" fmla="*/ 572770 w 1145117"/>
              <a:gd name="connsiteY70" fmla="*/ 44608 h 764815"/>
              <a:gd name="connsiteX71" fmla="*/ 572770 w 1145117"/>
              <a:gd name="connsiteY71" fmla="*/ 0 h 764815"/>
              <a:gd name="connsiteX72" fmla="*/ 653001 w 1145117"/>
              <a:gd name="connsiteY72" fmla="*/ 61156 h 764815"/>
              <a:gd name="connsiteX73" fmla="*/ 840087 w 1145117"/>
              <a:gd name="connsiteY73" fmla="*/ 61156 h 764815"/>
              <a:gd name="connsiteX74" fmla="*/ 967090 w 1145117"/>
              <a:gd name="connsiteY74" fmla="*/ 130587 h 764815"/>
              <a:gd name="connsiteX75" fmla="*/ 1099129 w 1145117"/>
              <a:gd name="connsiteY75" fmla="*/ 337440 h 764815"/>
              <a:gd name="connsiteX76" fmla="*/ 1102367 w 1145117"/>
              <a:gd name="connsiteY76" fmla="*/ 342476 h 764815"/>
              <a:gd name="connsiteX77" fmla="*/ 1105965 w 1145117"/>
              <a:gd name="connsiteY77" fmla="*/ 347513 h 764815"/>
              <a:gd name="connsiteX78" fmla="*/ 1107044 w 1145117"/>
              <a:gd name="connsiteY78" fmla="*/ 350031 h 764815"/>
              <a:gd name="connsiteX79" fmla="*/ 1142302 w 1145117"/>
              <a:gd name="connsiteY79" fmla="*/ 450040 h 764815"/>
              <a:gd name="connsiteX80" fmla="*/ 1113520 w 1145117"/>
              <a:gd name="connsiteY80" fmla="*/ 617680 h 764815"/>
              <a:gd name="connsiteX81" fmla="*/ 1083299 w 1145117"/>
              <a:gd name="connsiteY81" fmla="*/ 627033 h 764815"/>
              <a:gd name="connsiteX82" fmla="*/ 1073944 w 1145117"/>
              <a:gd name="connsiteY82" fmla="*/ 596815 h 764815"/>
              <a:gd name="connsiteX83" fmla="*/ 1067108 w 1145117"/>
              <a:gd name="connsiteY83" fmla="*/ 369817 h 764815"/>
              <a:gd name="connsiteX84" fmla="*/ 1062071 w 1145117"/>
              <a:gd name="connsiteY84" fmla="*/ 361902 h 764815"/>
              <a:gd name="connsiteX85" fmla="*/ 1032929 w 1145117"/>
              <a:gd name="connsiteY85" fmla="*/ 326647 h 764815"/>
              <a:gd name="connsiteX86" fmla="*/ 707328 w 1145117"/>
              <a:gd name="connsiteY86" fmla="*/ 326647 h 764815"/>
              <a:gd name="connsiteX87" fmla="*/ 675308 w 1145117"/>
              <a:gd name="connsiteY87" fmla="*/ 613003 h 764815"/>
              <a:gd name="connsiteX88" fmla="*/ 802670 w 1145117"/>
              <a:gd name="connsiteY88" fmla="*/ 486014 h 764815"/>
              <a:gd name="connsiteX89" fmla="*/ 833971 w 1145117"/>
              <a:gd name="connsiteY89" fmla="*/ 486014 h 764815"/>
              <a:gd name="connsiteX90" fmla="*/ 880023 w 1145117"/>
              <a:gd name="connsiteY90" fmla="*/ 532061 h 764815"/>
              <a:gd name="connsiteX91" fmla="*/ 931471 w 1145117"/>
              <a:gd name="connsiteY91" fmla="*/ 480618 h 764815"/>
              <a:gd name="connsiteX92" fmla="*/ 915281 w 1145117"/>
              <a:gd name="connsiteY92" fmla="*/ 459033 h 764815"/>
              <a:gd name="connsiteX93" fmla="*/ 937588 w 1145117"/>
              <a:gd name="connsiteY93" fmla="*/ 436729 h 764815"/>
              <a:gd name="connsiteX94" fmla="*/ 984719 w 1145117"/>
              <a:gd name="connsiteY94" fmla="*/ 436729 h 764815"/>
              <a:gd name="connsiteX95" fmla="*/ 1007385 w 1145117"/>
              <a:gd name="connsiteY95" fmla="*/ 459033 h 764815"/>
              <a:gd name="connsiteX96" fmla="*/ 1007385 w 1145117"/>
              <a:gd name="connsiteY96" fmla="*/ 506519 h 764815"/>
              <a:gd name="connsiteX97" fmla="*/ 984719 w 1145117"/>
              <a:gd name="connsiteY97" fmla="*/ 528823 h 764815"/>
              <a:gd name="connsiteX98" fmla="*/ 963132 w 1145117"/>
              <a:gd name="connsiteY98" fmla="*/ 512275 h 764815"/>
              <a:gd name="connsiteX99" fmla="*/ 895853 w 1145117"/>
              <a:gd name="connsiteY99" fmla="*/ 579547 h 764815"/>
              <a:gd name="connsiteX100" fmla="*/ 880023 w 1145117"/>
              <a:gd name="connsiteY100" fmla="*/ 586382 h 764815"/>
              <a:gd name="connsiteX101" fmla="*/ 864552 w 1145117"/>
              <a:gd name="connsiteY101" fmla="*/ 579547 h 764815"/>
              <a:gd name="connsiteX102" fmla="*/ 818140 w 1145117"/>
              <a:gd name="connsiteY102" fmla="*/ 533500 h 764815"/>
              <a:gd name="connsiteX103" fmla="*/ 703371 w 1145117"/>
              <a:gd name="connsiteY103" fmla="*/ 648618 h 764815"/>
              <a:gd name="connsiteX104" fmla="*/ 707328 w 1145117"/>
              <a:gd name="connsiteY104" fmla="*/ 652216 h 764815"/>
              <a:gd name="connsiteX105" fmla="*/ 971407 w 1145117"/>
              <a:gd name="connsiteY105" fmla="*/ 696464 h 764815"/>
              <a:gd name="connsiteX106" fmla="*/ 1001628 w 1145117"/>
              <a:gd name="connsiteY106" fmla="*/ 706537 h 764815"/>
              <a:gd name="connsiteX107" fmla="*/ 991555 w 1145117"/>
              <a:gd name="connsiteY107" fmla="*/ 736396 h 764815"/>
              <a:gd name="connsiteX108" fmla="*/ 869949 w 1145117"/>
              <a:gd name="connsiteY108" fmla="*/ 764815 h 764815"/>
              <a:gd name="connsiteX109" fmla="*/ 675308 w 1145117"/>
              <a:gd name="connsiteY109" fmla="*/ 684233 h 764815"/>
              <a:gd name="connsiteX110" fmla="*/ 626737 w 1145117"/>
              <a:gd name="connsiteY110" fmla="*/ 618040 h 764815"/>
              <a:gd name="connsiteX111" fmla="*/ 572411 w 1145117"/>
              <a:gd name="connsiteY111" fmla="*/ 640704 h 764815"/>
              <a:gd name="connsiteX112" fmla="*/ 518444 w 1145117"/>
              <a:gd name="connsiteY112" fmla="*/ 618040 h 764815"/>
              <a:gd name="connsiteX113" fmla="*/ 274872 w 1145117"/>
              <a:gd name="connsiteY113" fmla="*/ 764456 h 764815"/>
              <a:gd name="connsiteX114" fmla="*/ 0 w 1145117"/>
              <a:gd name="connsiteY114" fmla="*/ 489611 h 764815"/>
              <a:gd name="connsiteX115" fmla="*/ 37417 w 1145117"/>
              <a:gd name="connsiteY115" fmla="*/ 350750 h 764815"/>
              <a:gd name="connsiteX116" fmla="*/ 38857 w 1145117"/>
              <a:gd name="connsiteY116" fmla="*/ 347513 h 764815"/>
              <a:gd name="connsiteX117" fmla="*/ 178091 w 1145117"/>
              <a:gd name="connsiteY117" fmla="*/ 130587 h 764815"/>
              <a:gd name="connsiteX118" fmla="*/ 304734 w 1145117"/>
              <a:gd name="connsiteY118" fmla="*/ 61156 h 764815"/>
              <a:gd name="connsiteX119" fmla="*/ 492539 w 1145117"/>
              <a:gd name="connsiteY119" fmla="*/ 61156 h 764815"/>
              <a:gd name="connsiteX120" fmla="*/ 572770 w 1145117"/>
              <a:gd name="connsiteY120" fmla="*/ 0 h 76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45117" h="764815">
                <a:moveTo>
                  <a:pt x="1048678" y="645265"/>
                </a:moveTo>
                <a:cubicBezTo>
                  <a:pt x="1054339" y="645354"/>
                  <a:pt x="1059955" y="647592"/>
                  <a:pt x="1064235" y="651889"/>
                </a:cubicBezTo>
                <a:cubicBezTo>
                  <a:pt x="1072794" y="660483"/>
                  <a:pt x="1072794" y="674806"/>
                  <a:pt x="1063878" y="683400"/>
                </a:cubicBezTo>
                <a:cubicBezTo>
                  <a:pt x="1059599" y="687697"/>
                  <a:pt x="1053893" y="690204"/>
                  <a:pt x="1048187" y="690204"/>
                </a:cubicBezTo>
                <a:cubicBezTo>
                  <a:pt x="1042481" y="690204"/>
                  <a:pt x="1036775" y="688055"/>
                  <a:pt x="1032496" y="683758"/>
                </a:cubicBezTo>
                <a:cubicBezTo>
                  <a:pt x="1023937" y="675165"/>
                  <a:pt x="1023937" y="661199"/>
                  <a:pt x="1032496" y="652247"/>
                </a:cubicBezTo>
                <a:lnTo>
                  <a:pt x="1032853" y="651531"/>
                </a:lnTo>
                <a:cubicBezTo>
                  <a:pt x="1037311" y="647234"/>
                  <a:pt x="1043016" y="645175"/>
                  <a:pt x="1048678" y="645265"/>
                </a:cubicBezTo>
                <a:close/>
                <a:moveTo>
                  <a:pt x="572411" y="533500"/>
                </a:moveTo>
                <a:cubicBezTo>
                  <a:pt x="555141" y="533500"/>
                  <a:pt x="541110" y="547530"/>
                  <a:pt x="541110" y="564798"/>
                </a:cubicBezTo>
                <a:cubicBezTo>
                  <a:pt x="541110" y="582066"/>
                  <a:pt x="555141" y="596096"/>
                  <a:pt x="572411" y="596096"/>
                </a:cubicBezTo>
                <a:cubicBezTo>
                  <a:pt x="589680" y="596096"/>
                  <a:pt x="603711" y="582066"/>
                  <a:pt x="603711" y="564798"/>
                </a:cubicBezTo>
                <a:cubicBezTo>
                  <a:pt x="603711" y="547530"/>
                  <a:pt x="589680" y="533500"/>
                  <a:pt x="572411" y="533500"/>
                </a:cubicBezTo>
                <a:close/>
                <a:moveTo>
                  <a:pt x="274872" y="259016"/>
                </a:moveTo>
                <a:cubicBezTo>
                  <a:pt x="147870" y="259016"/>
                  <a:pt x="44613" y="362622"/>
                  <a:pt x="44613" y="489611"/>
                </a:cubicBezTo>
                <a:cubicBezTo>
                  <a:pt x="44613" y="536018"/>
                  <a:pt x="58644" y="579907"/>
                  <a:pt x="82390" y="616241"/>
                </a:cubicBezTo>
                <a:lnTo>
                  <a:pt x="212630" y="486014"/>
                </a:lnTo>
                <a:cubicBezTo>
                  <a:pt x="216948" y="481697"/>
                  <a:pt x="222704" y="479539"/>
                  <a:pt x="228461" y="479539"/>
                </a:cubicBezTo>
                <a:cubicBezTo>
                  <a:pt x="234577" y="479539"/>
                  <a:pt x="239974" y="481697"/>
                  <a:pt x="244291" y="486014"/>
                </a:cubicBezTo>
                <a:lnTo>
                  <a:pt x="290343" y="532061"/>
                </a:lnTo>
                <a:lnTo>
                  <a:pt x="342151" y="480618"/>
                </a:lnTo>
                <a:cubicBezTo>
                  <a:pt x="332437" y="478100"/>
                  <a:pt x="325242" y="469466"/>
                  <a:pt x="325242" y="459033"/>
                </a:cubicBezTo>
                <a:cubicBezTo>
                  <a:pt x="325242" y="446802"/>
                  <a:pt x="335315" y="436729"/>
                  <a:pt x="347908" y="436729"/>
                </a:cubicBezTo>
                <a:lnTo>
                  <a:pt x="395039" y="436729"/>
                </a:lnTo>
                <a:cubicBezTo>
                  <a:pt x="407631" y="436729"/>
                  <a:pt x="417345" y="446802"/>
                  <a:pt x="417345" y="459033"/>
                </a:cubicBezTo>
                <a:lnTo>
                  <a:pt x="417345" y="506519"/>
                </a:lnTo>
                <a:cubicBezTo>
                  <a:pt x="417345" y="518751"/>
                  <a:pt x="407631" y="528823"/>
                  <a:pt x="395039" y="528823"/>
                </a:cubicBezTo>
                <a:cubicBezTo>
                  <a:pt x="384965" y="528823"/>
                  <a:pt x="375971" y="521629"/>
                  <a:pt x="373452" y="512275"/>
                </a:cubicBezTo>
                <a:lnTo>
                  <a:pt x="306173" y="579547"/>
                </a:lnTo>
                <a:cubicBezTo>
                  <a:pt x="297538" y="588181"/>
                  <a:pt x="283147" y="588181"/>
                  <a:pt x="274513" y="579547"/>
                </a:cubicBezTo>
                <a:lnTo>
                  <a:pt x="228461" y="533500"/>
                </a:lnTo>
                <a:lnTo>
                  <a:pt x="110813" y="651136"/>
                </a:lnTo>
                <a:cubicBezTo>
                  <a:pt x="152547" y="693586"/>
                  <a:pt x="210831" y="719847"/>
                  <a:pt x="274872" y="719847"/>
                </a:cubicBezTo>
                <a:cubicBezTo>
                  <a:pt x="402235" y="719847"/>
                  <a:pt x="505491" y="616601"/>
                  <a:pt x="505491" y="489611"/>
                </a:cubicBezTo>
                <a:cubicBezTo>
                  <a:pt x="505491" y="362622"/>
                  <a:pt x="402235" y="259016"/>
                  <a:pt x="274872" y="259016"/>
                </a:cubicBezTo>
                <a:close/>
                <a:moveTo>
                  <a:pt x="526872" y="153987"/>
                </a:moveTo>
                <a:cubicBezTo>
                  <a:pt x="532562" y="153987"/>
                  <a:pt x="538252" y="156476"/>
                  <a:pt x="542519" y="160388"/>
                </a:cubicBezTo>
                <a:cubicBezTo>
                  <a:pt x="546430" y="164299"/>
                  <a:pt x="548920" y="170345"/>
                  <a:pt x="548920" y="176034"/>
                </a:cubicBezTo>
                <a:cubicBezTo>
                  <a:pt x="548920" y="181724"/>
                  <a:pt x="546430" y="187769"/>
                  <a:pt x="542519" y="191681"/>
                </a:cubicBezTo>
                <a:cubicBezTo>
                  <a:pt x="538252" y="195948"/>
                  <a:pt x="532562" y="198081"/>
                  <a:pt x="526872" y="198081"/>
                </a:cubicBezTo>
                <a:cubicBezTo>
                  <a:pt x="521183" y="198081"/>
                  <a:pt x="515493" y="195948"/>
                  <a:pt x="511226" y="191681"/>
                </a:cubicBezTo>
                <a:cubicBezTo>
                  <a:pt x="506959" y="187769"/>
                  <a:pt x="504825" y="181724"/>
                  <a:pt x="504825" y="176034"/>
                </a:cubicBezTo>
                <a:cubicBezTo>
                  <a:pt x="504825" y="170345"/>
                  <a:pt x="506959" y="164299"/>
                  <a:pt x="511226" y="160388"/>
                </a:cubicBezTo>
                <a:cubicBezTo>
                  <a:pt x="515493" y="156476"/>
                  <a:pt x="521183" y="153987"/>
                  <a:pt x="526872" y="153987"/>
                </a:cubicBezTo>
                <a:close/>
                <a:moveTo>
                  <a:pt x="572770" y="44608"/>
                </a:moveTo>
                <a:cubicBezTo>
                  <a:pt x="551543" y="44608"/>
                  <a:pt x="534274" y="61876"/>
                  <a:pt x="534274" y="83461"/>
                </a:cubicBezTo>
                <a:cubicBezTo>
                  <a:pt x="534274" y="95692"/>
                  <a:pt x="524200" y="105765"/>
                  <a:pt x="511968" y="105765"/>
                </a:cubicBezTo>
                <a:lnTo>
                  <a:pt x="304734" y="105765"/>
                </a:lnTo>
                <a:cubicBezTo>
                  <a:pt x="268396" y="105765"/>
                  <a:pt x="235297" y="124112"/>
                  <a:pt x="215509" y="154690"/>
                </a:cubicBezTo>
                <a:lnTo>
                  <a:pt x="161901" y="238510"/>
                </a:lnTo>
                <a:cubicBezTo>
                  <a:pt x="196440" y="223041"/>
                  <a:pt x="234577" y="214407"/>
                  <a:pt x="274872" y="214407"/>
                </a:cubicBezTo>
                <a:cubicBezTo>
                  <a:pt x="371293" y="214407"/>
                  <a:pt x="456202" y="264412"/>
                  <a:pt x="505491" y="339238"/>
                </a:cubicBezTo>
                <a:lnTo>
                  <a:pt x="505491" y="252540"/>
                </a:lnTo>
                <a:cubicBezTo>
                  <a:pt x="505491" y="240309"/>
                  <a:pt x="515206" y="230236"/>
                  <a:pt x="527798" y="230236"/>
                </a:cubicBezTo>
                <a:cubicBezTo>
                  <a:pt x="540030" y="230236"/>
                  <a:pt x="550104" y="240309"/>
                  <a:pt x="550104" y="252540"/>
                </a:cubicBezTo>
                <a:lnTo>
                  <a:pt x="550104" y="489611"/>
                </a:lnTo>
                <a:cubicBezTo>
                  <a:pt x="550104" y="490331"/>
                  <a:pt x="550104" y="491050"/>
                  <a:pt x="550104" y="492130"/>
                </a:cubicBezTo>
                <a:cubicBezTo>
                  <a:pt x="556940" y="489971"/>
                  <a:pt x="564855" y="488892"/>
                  <a:pt x="572411" y="488892"/>
                </a:cubicBezTo>
                <a:cubicBezTo>
                  <a:pt x="580326" y="488892"/>
                  <a:pt x="587881" y="489971"/>
                  <a:pt x="595077" y="492130"/>
                </a:cubicBezTo>
                <a:cubicBezTo>
                  <a:pt x="595077" y="491050"/>
                  <a:pt x="595077" y="490331"/>
                  <a:pt x="595077" y="489611"/>
                </a:cubicBezTo>
                <a:lnTo>
                  <a:pt x="595077" y="176634"/>
                </a:lnTo>
                <a:cubicBezTo>
                  <a:pt x="595077" y="164403"/>
                  <a:pt x="604791" y="154330"/>
                  <a:pt x="617023" y="154330"/>
                </a:cubicBezTo>
                <a:cubicBezTo>
                  <a:pt x="629616" y="154330"/>
                  <a:pt x="639689" y="164403"/>
                  <a:pt x="639689" y="176634"/>
                </a:cubicBezTo>
                <a:lnTo>
                  <a:pt x="639689" y="338879"/>
                </a:lnTo>
                <a:cubicBezTo>
                  <a:pt x="649763" y="323410"/>
                  <a:pt x="661636" y="308660"/>
                  <a:pt x="675308" y="294990"/>
                </a:cubicBezTo>
                <a:cubicBezTo>
                  <a:pt x="758417" y="211889"/>
                  <a:pt x="881822" y="193182"/>
                  <a:pt x="982920" y="238510"/>
                </a:cubicBezTo>
                <a:lnTo>
                  <a:pt x="929313" y="154690"/>
                </a:lnTo>
                <a:cubicBezTo>
                  <a:pt x="909884" y="124112"/>
                  <a:pt x="876425" y="105765"/>
                  <a:pt x="840087" y="105765"/>
                </a:cubicBezTo>
                <a:lnTo>
                  <a:pt x="633573" y="105765"/>
                </a:lnTo>
                <a:cubicBezTo>
                  <a:pt x="621341" y="105765"/>
                  <a:pt x="611267" y="95692"/>
                  <a:pt x="611267" y="83461"/>
                </a:cubicBezTo>
                <a:cubicBezTo>
                  <a:pt x="611267" y="61876"/>
                  <a:pt x="593997" y="44608"/>
                  <a:pt x="572770" y="44608"/>
                </a:cubicBezTo>
                <a:close/>
                <a:moveTo>
                  <a:pt x="572770" y="0"/>
                </a:moveTo>
                <a:cubicBezTo>
                  <a:pt x="610907" y="0"/>
                  <a:pt x="643287" y="25902"/>
                  <a:pt x="653001" y="61156"/>
                </a:cubicBezTo>
                <a:lnTo>
                  <a:pt x="840087" y="61156"/>
                </a:lnTo>
                <a:cubicBezTo>
                  <a:pt x="891895" y="61156"/>
                  <a:pt x="939027" y="87058"/>
                  <a:pt x="967090" y="130587"/>
                </a:cubicBezTo>
                <a:lnTo>
                  <a:pt x="1099129" y="337440"/>
                </a:lnTo>
                <a:cubicBezTo>
                  <a:pt x="1100568" y="338879"/>
                  <a:pt x="1101647" y="340677"/>
                  <a:pt x="1102367" y="342476"/>
                </a:cubicBezTo>
                <a:lnTo>
                  <a:pt x="1105965" y="347513"/>
                </a:lnTo>
                <a:cubicBezTo>
                  <a:pt x="1106324" y="348592"/>
                  <a:pt x="1107044" y="349311"/>
                  <a:pt x="1107044" y="350031"/>
                </a:cubicBezTo>
                <a:cubicBezTo>
                  <a:pt x="1125033" y="380249"/>
                  <a:pt x="1137266" y="414425"/>
                  <a:pt x="1142302" y="450040"/>
                </a:cubicBezTo>
                <a:cubicBezTo>
                  <a:pt x="1150577" y="507239"/>
                  <a:pt x="1140504" y="566956"/>
                  <a:pt x="1113520" y="617680"/>
                </a:cubicBezTo>
                <a:cubicBezTo>
                  <a:pt x="1107764" y="628472"/>
                  <a:pt x="1094452" y="632789"/>
                  <a:pt x="1083299" y="627033"/>
                </a:cubicBezTo>
                <a:cubicBezTo>
                  <a:pt x="1072505" y="620918"/>
                  <a:pt x="1068188" y="607607"/>
                  <a:pt x="1073944" y="596815"/>
                </a:cubicBezTo>
                <a:cubicBezTo>
                  <a:pt x="1112441" y="523427"/>
                  <a:pt x="1108483" y="437808"/>
                  <a:pt x="1067108" y="369817"/>
                </a:cubicBezTo>
                <a:lnTo>
                  <a:pt x="1062071" y="361902"/>
                </a:lnTo>
                <a:cubicBezTo>
                  <a:pt x="1053797" y="349671"/>
                  <a:pt x="1044082" y="337440"/>
                  <a:pt x="1032929" y="326647"/>
                </a:cubicBezTo>
                <a:cubicBezTo>
                  <a:pt x="942984" y="236711"/>
                  <a:pt x="796913" y="236711"/>
                  <a:pt x="707328" y="326647"/>
                </a:cubicBezTo>
                <a:cubicBezTo>
                  <a:pt x="629256" y="404352"/>
                  <a:pt x="618822" y="524147"/>
                  <a:pt x="675308" y="613003"/>
                </a:cubicBezTo>
                <a:lnTo>
                  <a:pt x="802670" y="486014"/>
                </a:lnTo>
                <a:cubicBezTo>
                  <a:pt x="810945" y="477380"/>
                  <a:pt x="825336" y="477380"/>
                  <a:pt x="833971" y="486014"/>
                </a:cubicBezTo>
                <a:lnTo>
                  <a:pt x="880023" y="532061"/>
                </a:lnTo>
                <a:lnTo>
                  <a:pt x="931471" y="480618"/>
                </a:lnTo>
                <a:cubicBezTo>
                  <a:pt x="922117" y="478100"/>
                  <a:pt x="915281" y="469466"/>
                  <a:pt x="915281" y="459033"/>
                </a:cubicBezTo>
                <a:cubicBezTo>
                  <a:pt x="915281" y="446802"/>
                  <a:pt x="925355" y="436729"/>
                  <a:pt x="937588" y="436729"/>
                </a:cubicBezTo>
                <a:lnTo>
                  <a:pt x="984719" y="436729"/>
                </a:lnTo>
                <a:cubicBezTo>
                  <a:pt x="997311" y="436729"/>
                  <a:pt x="1007385" y="446802"/>
                  <a:pt x="1007385" y="459033"/>
                </a:cubicBezTo>
                <a:lnTo>
                  <a:pt x="1007385" y="506519"/>
                </a:lnTo>
                <a:cubicBezTo>
                  <a:pt x="1007385" y="518751"/>
                  <a:pt x="997311" y="528823"/>
                  <a:pt x="984719" y="528823"/>
                </a:cubicBezTo>
                <a:cubicBezTo>
                  <a:pt x="974285" y="528823"/>
                  <a:pt x="965650" y="521629"/>
                  <a:pt x="963132" y="512275"/>
                </a:cubicBezTo>
                <a:lnTo>
                  <a:pt x="895853" y="579547"/>
                </a:lnTo>
                <a:cubicBezTo>
                  <a:pt x="891536" y="583864"/>
                  <a:pt x="886139" y="586382"/>
                  <a:pt x="880023" y="586382"/>
                </a:cubicBezTo>
                <a:cubicBezTo>
                  <a:pt x="873906" y="586382"/>
                  <a:pt x="868510" y="583864"/>
                  <a:pt x="864552" y="579547"/>
                </a:cubicBezTo>
                <a:lnTo>
                  <a:pt x="818140" y="533500"/>
                </a:lnTo>
                <a:lnTo>
                  <a:pt x="703371" y="648618"/>
                </a:lnTo>
                <a:cubicBezTo>
                  <a:pt x="704810" y="649697"/>
                  <a:pt x="705529" y="651136"/>
                  <a:pt x="707328" y="652216"/>
                </a:cubicBezTo>
                <a:cubicBezTo>
                  <a:pt x="776766" y="722006"/>
                  <a:pt x="883261" y="739993"/>
                  <a:pt x="971407" y="696464"/>
                </a:cubicBezTo>
                <a:cubicBezTo>
                  <a:pt x="982560" y="690708"/>
                  <a:pt x="995872" y="695385"/>
                  <a:pt x="1001628" y="706537"/>
                </a:cubicBezTo>
                <a:cubicBezTo>
                  <a:pt x="1007025" y="717689"/>
                  <a:pt x="1002348" y="730999"/>
                  <a:pt x="991555" y="736396"/>
                </a:cubicBezTo>
                <a:cubicBezTo>
                  <a:pt x="952698" y="755462"/>
                  <a:pt x="911324" y="764815"/>
                  <a:pt x="869949" y="764815"/>
                </a:cubicBezTo>
                <a:cubicBezTo>
                  <a:pt x="798712" y="764815"/>
                  <a:pt x="728195" y="736755"/>
                  <a:pt x="675308" y="684233"/>
                </a:cubicBezTo>
                <a:cubicBezTo>
                  <a:pt x="655520" y="664087"/>
                  <a:pt x="639330" y="641783"/>
                  <a:pt x="626737" y="618040"/>
                </a:cubicBezTo>
                <a:cubicBezTo>
                  <a:pt x="613066" y="632070"/>
                  <a:pt x="593638" y="640704"/>
                  <a:pt x="572411" y="640704"/>
                </a:cubicBezTo>
                <a:cubicBezTo>
                  <a:pt x="551184" y="640704"/>
                  <a:pt x="532115" y="632070"/>
                  <a:pt x="518444" y="618040"/>
                </a:cubicBezTo>
                <a:cubicBezTo>
                  <a:pt x="472032" y="705098"/>
                  <a:pt x="380288" y="764456"/>
                  <a:pt x="274872" y="764456"/>
                </a:cubicBezTo>
                <a:cubicBezTo>
                  <a:pt x="123405" y="764456"/>
                  <a:pt x="0" y="641063"/>
                  <a:pt x="0" y="489611"/>
                </a:cubicBezTo>
                <a:cubicBezTo>
                  <a:pt x="0" y="438887"/>
                  <a:pt x="13312" y="391761"/>
                  <a:pt x="37417" y="350750"/>
                </a:cubicBezTo>
                <a:cubicBezTo>
                  <a:pt x="38137" y="349671"/>
                  <a:pt x="38497" y="348952"/>
                  <a:pt x="38857" y="347513"/>
                </a:cubicBezTo>
                <a:lnTo>
                  <a:pt x="178091" y="130587"/>
                </a:lnTo>
                <a:cubicBezTo>
                  <a:pt x="205795" y="87058"/>
                  <a:pt x="253286" y="61156"/>
                  <a:pt x="304734" y="61156"/>
                </a:cubicBezTo>
                <a:lnTo>
                  <a:pt x="492539" y="61156"/>
                </a:lnTo>
                <a:cubicBezTo>
                  <a:pt x="502253" y="25902"/>
                  <a:pt x="534634" y="0"/>
                  <a:pt x="572770" y="0"/>
                </a:cubicBezTo>
                <a:close/>
              </a:path>
            </a:pathLst>
          </a:custGeom>
          <a:solidFill>
            <a:srgbClr val="0069B4"/>
          </a:solidFill>
          <a:ln>
            <a:noFill/>
          </a:ln>
          <a:effectLst/>
        </p:spPr>
        <p:txBody>
          <a:bodyPr wrap="square" anchor="ctr">
            <a:noAutofit/>
          </a:bodyPr>
          <a:lstStyle/>
          <a:p>
            <a:pPr defTabSz="742704"/>
            <a:endParaRPr lang="en-US" sz="1462">
              <a:solidFill>
                <a:srgbClr val="7F7F7F"/>
              </a:solidFill>
              <a:latin typeface="EYInterstate Light" panose="02000506000000020004" pitchFamily="2" charset="0"/>
              <a:sym typeface="EYInterstate Light" panose="02000506000000020004" pitchFamily="2" charset="0"/>
            </a:endParaRPr>
          </a:p>
        </p:txBody>
      </p:sp>
      <p:sp>
        <p:nvSpPr>
          <p:cNvPr id="44" name="Rectangle 43">
            <a:extLst>
              <a:ext uri="{FF2B5EF4-FFF2-40B4-BE49-F238E27FC236}">
                <a16:creationId xmlns:a16="http://schemas.microsoft.com/office/drawing/2014/main" id="{14FEA73F-F7DF-4A29-8B99-3BF20510A6BD}"/>
              </a:ext>
            </a:extLst>
          </p:cNvPr>
          <p:cNvSpPr>
            <a:spLocks noChangeArrowheads="1"/>
          </p:cNvSpPr>
          <p:nvPr/>
        </p:nvSpPr>
        <p:spPr bwMode="gray">
          <a:xfrm>
            <a:off x="5907872" y="2306777"/>
            <a:ext cx="5650610" cy="818686"/>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chemeClr val="tx2">
                  <a:lumMod val="90000"/>
                  <a:lumOff val="10000"/>
                </a:schemeClr>
              </a:buClr>
              <a:buSzPct val="75000"/>
            </a:pPr>
            <a:r>
              <a:rPr lang="en-US" sz="1400">
                <a:cs typeface="Calibri"/>
              </a:rPr>
              <a:t>Guide and cooperate ORM  to ensure regulatory compliance and set safety protocols for monitoring and remediating risks involving data assets to business operations, decision making and products &amp; services</a:t>
            </a:r>
          </a:p>
          <a:p>
            <a:pPr marL="125937" indent="-125937">
              <a:lnSpc>
                <a:spcPct val="90000"/>
              </a:lnSpc>
              <a:spcBef>
                <a:spcPct val="20000"/>
              </a:spcBef>
              <a:buClr>
                <a:schemeClr val="tx2">
                  <a:lumMod val="90000"/>
                  <a:lumOff val="10000"/>
                </a:schemeClr>
              </a:buClr>
              <a:buSzPct val="75000"/>
              <a:buFont typeface="Wingdings 3" panose="05040102010807070707" pitchFamily="18" charset="2"/>
              <a:buChar char=""/>
            </a:pPr>
            <a:endParaRPr lang="de-DE" altLang="de-DE" sz="1400">
              <a:cs typeface="Calibri"/>
              <a:sym typeface="EYInterstate Light" panose="02000506000000020004" pitchFamily="2" charset="0"/>
            </a:endParaRPr>
          </a:p>
        </p:txBody>
      </p:sp>
      <p:cxnSp>
        <p:nvCxnSpPr>
          <p:cNvPr id="48" name="Straight Connector 47">
            <a:extLst>
              <a:ext uri="{FF2B5EF4-FFF2-40B4-BE49-F238E27FC236}">
                <a16:creationId xmlns:a16="http://schemas.microsoft.com/office/drawing/2014/main" id="{64C906D6-7221-4122-BAAC-1EAD56B7B76A}"/>
              </a:ext>
            </a:extLst>
          </p:cNvPr>
          <p:cNvCxnSpPr>
            <a:cxnSpLocks/>
          </p:cNvCxnSpPr>
          <p:nvPr/>
        </p:nvCxnSpPr>
        <p:spPr>
          <a:xfrm>
            <a:off x="3323981" y="3011656"/>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3" name="Group 262">
            <a:extLst>
              <a:ext uri="{FF2B5EF4-FFF2-40B4-BE49-F238E27FC236}">
                <a16:creationId xmlns:a16="http://schemas.microsoft.com/office/drawing/2014/main" id="{728DFB1C-1ADF-415D-948B-EADB69E31F84}"/>
              </a:ext>
            </a:extLst>
          </p:cNvPr>
          <p:cNvGrpSpPr/>
          <p:nvPr/>
        </p:nvGrpSpPr>
        <p:grpSpPr>
          <a:xfrm>
            <a:off x="3318510" y="2324064"/>
            <a:ext cx="2300914" cy="542308"/>
            <a:chOff x="3332464" y="2231704"/>
            <a:chExt cx="2300914" cy="542308"/>
          </a:xfrm>
        </p:grpSpPr>
        <p:sp>
          <p:nvSpPr>
            <p:cNvPr id="43" name="Rectangle 42">
              <a:extLst>
                <a:ext uri="{FF2B5EF4-FFF2-40B4-BE49-F238E27FC236}">
                  <a16:creationId xmlns:a16="http://schemas.microsoft.com/office/drawing/2014/main" id="{7D8D8152-3FE4-4F60-8175-49EFDF3D23EF}"/>
                </a:ext>
              </a:extLst>
            </p:cNvPr>
            <p:cNvSpPr>
              <a:spLocks noChangeArrowheads="1"/>
            </p:cNvSpPr>
            <p:nvPr/>
          </p:nvSpPr>
          <p:spPr bwMode="gray">
            <a:xfrm>
              <a:off x="4042386" y="2389291"/>
              <a:ext cx="1590992" cy="384721"/>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r>
                <a:rPr lang="en-US" sz="1400" b="1">
                  <a:latin typeface="EYInterstate Light"/>
                  <a:sym typeface="EYInterstate Light" panose="02000506000000020004" pitchFamily="2" charset="0"/>
                </a:rPr>
                <a:t>Data Risk</a:t>
              </a:r>
              <a:endParaRPr lang="en-US" sz="1400" b="1">
                <a:latin typeface="EYInterstate Light"/>
              </a:endParaRPr>
            </a:p>
            <a:p>
              <a:endParaRPr lang="en-US" altLang="de-DE" sz="1100" b="1">
                <a:latin typeface="EYInterstate Light" panose="02000506000000020004" pitchFamily="2" charset="0"/>
                <a:sym typeface="EYInterstate Light" panose="02000506000000020004" pitchFamily="2" charset="0"/>
              </a:endParaRPr>
            </a:p>
          </p:txBody>
        </p:sp>
        <p:grpSp>
          <p:nvGrpSpPr>
            <p:cNvPr id="121" name="Group 120">
              <a:extLst>
                <a:ext uri="{FF2B5EF4-FFF2-40B4-BE49-F238E27FC236}">
                  <a16:creationId xmlns:a16="http://schemas.microsoft.com/office/drawing/2014/main" id="{A6987BEC-3B11-466D-B454-F8569DF6A77C}"/>
                </a:ext>
              </a:extLst>
            </p:cNvPr>
            <p:cNvGrpSpPr/>
            <p:nvPr/>
          </p:nvGrpSpPr>
          <p:grpSpPr>
            <a:xfrm>
              <a:off x="3332464" y="2231704"/>
              <a:ext cx="467998" cy="504002"/>
              <a:chOff x="2635250" y="4679948"/>
              <a:chExt cx="546099" cy="558802"/>
            </a:xfrm>
          </p:grpSpPr>
          <p:sp>
            <p:nvSpPr>
              <p:cNvPr id="122" name="Freeform 36">
                <a:extLst>
                  <a:ext uri="{FF2B5EF4-FFF2-40B4-BE49-F238E27FC236}">
                    <a16:creationId xmlns:a16="http://schemas.microsoft.com/office/drawing/2014/main" id="{FF6CF076-A848-4C16-852B-61CE69911F30}"/>
                  </a:ext>
                </a:extLst>
              </p:cNvPr>
              <p:cNvSpPr>
                <a:spLocks/>
              </p:cNvSpPr>
              <p:nvPr/>
            </p:nvSpPr>
            <p:spPr bwMode="auto">
              <a:xfrm>
                <a:off x="2927349" y="4679948"/>
                <a:ext cx="254000" cy="520699"/>
              </a:xfrm>
              <a:custGeom>
                <a:avLst/>
                <a:gdLst>
                  <a:gd name="T0" fmla="*/ 40 w 160"/>
                  <a:gd name="T1" fmla="*/ 328 h 328"/>
                  <a:gd name="T2" fmla="*/ 74 w 160"/>
                  <a:gd name="T3" fmla="*/ 328 h 328"/>
                  <a:gd name="T4" fmla="*/ 104 w 160"/>
                  <a:gd name="T5" fmla="*/ 296 h 328"/>
                  <a:gd name="T6" fmla="*/ 104 w 160"/>
                  <a:gd name="T7" fmla="*/ 158 h 328"/>
                  <a:gd name="T8" fmla="*/ 104 w 160"/>
                  <a:gd name="T9" fmla="*/ 158 h 328"/>
                  <a:gd name="T10" fmla="*/ 118 w 160"/>
                  <a:gd name="T11" fmla="*/ 154 h 328"/>
                  <a:gd name="T12" fmla="*/ 130 w 160"/>
                  <a:gd name="T13" fmla="*/ 148 h 328"/>
                  <a:gd name="T14" fmla="*/ 140 w 160"/>
                  <a:gd name="T15" fmla="*/ 140 h 328"/>
                  <a:gd name="T16" fmla="*/ 148 w 160"/>
                  <a:gd name="T17" fmla="*/ 130 h 328"/>
                  <a:gd name="T18" fmla="*/ 154 w 160"/>
                  <a:gd name="T19" fmla="*/ 120 h 328"/>
                  <a:gd name="T20" fmla="*/ 158 w 160"/>
                  <a:gd name="T21" fmla="*/ 108 h 328"/>
                  <a:gd name="T22" fmla="*/ 160 w 160"/>
                  <a:gd name="T23" fmla="*/ 94 h 328"/>
                  <a:gd name="T24" fmla="*/ 160 w 160"/>
                  <a:gd name="T25" fmla="*/ 82 h 328"/>
                  <a:gd name="T26" fmla="*/ 160 w 160"/>
                  <a:gd name="T27" fmla="*/ 82 h 328"/>
                  <a:gd name="T28" fmla="*/ 160 w 160"/>
                  <a:gd name="T29" fmla="*/ 66 h 328"/>
                  <a:gd name="T30" fmla="*/ 154 w 160"/>
                  <a:gd name="T31" fmla="*/ 50 h 328"/>
                  <a:gd name="T32" fmla="*/ 146 w 160"/>
                  <a:gd name="T33" fmla="*/ 36 h 328"/>
                  <a:gd name="T34" fmla="*/ 136 w 160"/>
                  <a:gd name="T35" fmla="*/ 24 h 328"/>
                  <a:gd name="T36" fmla="*/ 124 w 160"/>
                  <a:gd name="T37" fmla="*/ 14 h 328"/>
                  <a:gd name="T38" fmla="*/ 112 w 160"/>
                  <a:gd name="T39" fmla="*/ 8 h 328"/>
                  <a:gd name="T40" fmla="*/ 96 w 160"/>
                  <a:gd name="T41" fmla="*/ 2 h 328"/>
                  <a:gd name="T42" fmla="*/ 80 w 160"/>
                  <a:gd name="T43" fmla="*/ 0 h 328"/>
                  <a:gd name="T44" fmla="*/ 80 w 160"/>
                  <a:gd name="T45" fmla="*/ 0 h 328"/>
                  <a:gd name="T46" fmla="*/ 64 w 160"/>
                  <a:gd name="T47" fmla="*/ 2 h 328"/>
                  <a:gd name="T48" fmla="*/ 48 w 160"/>
                  <a:gd name="T49" fmla="*/ 8 h 328"/>
                  <a:gd name="T50" fmla="*/ 34 w 160"/>
                  <a:gd name="T51" fmla="*/ 14 h 328"/>
                  <a:gd name="T52" fmla="*/ 22 w 160"/>
                  <a:gd name="T53" fmla="*/ 24 h 328"/>
                  <a:gd name="T54" fmla="*/ 12 w 160"/>
                  <a:gd name="T55" fmla="*/ 36 h 328"/>
                  <a:gd name="T56" fmla="*/ 6 w 160"/>
                  <a:gd name="T57" fmla="*/ 50 h 328"/>
                  <a:gd name="T58" fmla="*/ 0 w 160"/>
                  <a:gd name="T59" fmla="*/ 66 h 328"/>
                  <a:gd name="T60" fmla="*/ 0 w 160"/>
                  <a:gd name="T61" fmla="*/ 82 h 328"/>
                  <a:gd name="T62" fmla="*/ 0 w 160"/>
                  <a:gd name="T63" fmla="*/ 82 h 328"/>
                  <a:gd name="T64" fmla="*/ 0 w 160"/>
                  <a:gd name="T65" fmla="*/ 92 h 328"/>
                  <a:gd name="T66" fmla="*/ 4 w 160"/>
                  <a:gd name="T67" fmla="*/ 104 h 328"/>
                  <a:gd name="T68" fmla="*/ 8 w 160"/>
                  <a:gd name="T69" fmla="*/ 114 h 328"/>
                  <a:gd name="T70" fmla="*/ 14 w 160"/>
                  <a:gd name="T71" fmla="*/ 122 h 328"/>
                  <a:gd name="T72" fmla="*/ 26 w 160"/>
                  <a:gd name="T73" fmla="*/ 138 h 328"/>
                  <a:gd name="T74" fmla="*/ 40 w 160"/>
                  <a:gd name="T75" fmla="*/ 152 h 328"/>
                  <a:gd name="T76" fmla="*/ 40 w 160"/>
                  <a:gd name="T77" fmla="*/ 200 h 328"/>
                  <a:gd name="T78" fmla="*/ 56 w 160"/>
                  <a:gd name="T79" fmla="*/ 212 h 328"/>
                  <a:gd name="T80" fmla="*/ 56 w 160"/>
                  <a:gd name="T81" fmla="*/ 226 h 328"/>
                  <a:gd name="T82" fmla="*/ 40 w 160"/>
                  <a:gd name="T83" fmla="*/ 244 h 328"/>
                  <a:gd name="T84" fmla="*/ 40 w 160"/>
                  <a:gd name="T85" fmla="*/ 254 h 328"/>
                  <a:gd name="T86" fmla="*/ 56 w 160"/>
                  <a:gd name="T87" fmla="*/ 270 h 328"/>
                  <a:gd name="T88" fmla="*/ 56 w 160"/>
                  <a:gd name="T89" fmla="*/ 282 h 328"/>
                  <a:gd name="T90" fmla="*/ 40 w 160"/>
                  <a:gd name="T91" fmla="*/ 296 h 328"/>
                  <a:gd name="T92" fmla="*/ 40 w 160"/>
                  <a:gd name="T93"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328">
                    <a:moveTo>
                      <a:pt x="40" y="328"/>
                    </a:moveTo>
                    <a:lnTo>
                      <a:pt x="74" y="328"/>
                    </a:lnTo>
                    <a:lnTo>
                      <a:pt x="104" y="296"/>
                    </a:lnTo>
                    <a:lnTo>
                      <a:pt x="104" y="158"/>
                    </a:lnTo>
                    <a:lnTo>
                      <a:pt x="104" y="158"/>
                    </a:lnTo>
                    <a:lnTo>
                      <a:pt x="118" y="154"/>
                    </a:lnTo>
                    <a:lnTo>
                      <a:pt x="130" y="148"/>
                    </a:lnTo>
                    <a:lnTo>
                      <a:pt x="140" y="140"/>
                    </a:lnTo>
                    <a:lnTo>
                      <a:pt x="148" y="130"/>
                    </a:lnTo>
                    <a:lnTo>
                      <a:pt x="154" y="120"/>
                    </a:lnTo>
                    <a:lnTo>
                      <a:pt x="158" y="108"/>
                    </a:lnTo>
                    <a:lnTo>
                      <a:pt x="160" y="94"/>
                    </a:lnTo>
                    <a:lnTo>
                      <a:pt x="160" y="82"/>
                    </a:lnTo>
                    <a:lnTo>
                      <a:pt x="160" y="82"/>
                    </a:lnTo>
                    <a:lnTo>
                      <a:pt x="160" y="66"/>
                    </a:lnTo>
                    <a:lnTo>
                      <a:pt x="154" y="50"/>
                    </a:lnTo>
                    <a:lnTo>
                      <a:pt x="146" y="36"/>
                    </a:lnTo>
                    <a:lnTo>
                      <a:pt x="136" y="24"/>
                    </a:lnTo>
                    <a:lnTo>
                      <a:pt x="124" y="14"/>
                    </a:lnTo>
                    <a:lnTo>
                      <a:pt x="112" y="8"/>
                    </a:lnTo>
                    <a:lnTo>
                      <a:pt x="96" y="2"/>
                    </a:lnTo>
                    <a:lnTo>
                      <a:pt x="80" y="0"/>
                    </a:lnTo>
                    <a:lnTo>
                      <a:pt x="80" y="0"/>
                    </a:lnTo>
                    <a:lnTo>
                      <a:pt x="64" y="2"/>
                    </a:lnTo>
                    <a:lnTo>
                      <a:pt x="48" y="8"/>
                    </a:lnTo>
                    <a:lnTo>
                      <a:pt x="34" y="14"/>
                    </a:lnTo>
                    <a:lnTo>
                      <a:pt x="22" y="24"/>
                    </a:lnTo>
                    <a:lnTo>
                      <a:pt x="12" y="36"/>
                    </a:lnTo>
                    <a:lnTo>
                      <a:pt x="6" y="50"/>
                    </a:lnTo>
                    <a:lnTo>
                      <a:pt x="0" y="66"/>
                    </a:lnTo>
                    <a:lnTo>
                      <a:pt x="0" y="82"/>
                    </a:lnTo>
                    <a:lnTo>
                      <a:pt x="0" y="82"/>
                    </a:lnTo>
                    <a:lnTo>
                      <a:pt x="0" y="92"/>
                    </a:lnTo>
                    <a:lnTo>
                      <a:pt x="4" y="104"/>
                    </a:lnTo>
                    <a:lnTo>
                      <a:pt x="8" y="114"/>
                    </a:lnTo>
                    <a:lnTo>
                      <a:pt x="14" y="122"/>
                    </a:lnTo>
                    <a:lnTo>
                      <a:pt x="26" y="138"/>
                    </a:lnTo>
                    <a:lnTo>
                      <a:pt x="40" y="152"/>
                    </a:lnTo>
                    <a:lnTo>
                      <a:pt x="40" y="200"/>
                    </a:lnTo>
                    <a:lnTo>
                      <a:pt x="56" y="212"/>
                    </a:lnTo>
                    <a:lnTo>
                      <a:pt x="56" y="226"/>
                    </a:lnTo>
                    <a:lnTo>
                      <a:pt x="40" y="244"/>
                    </a:lnTo>
                    <a:lnTo>
                      <a:pt x="40" y="254"/>
                    </a:lnTo>
                    <a:lnTo>
                      <a:pt x="56" y="270"/>
                    </a:lnTo>
                    <a:lnTo>
                      <a:pt x="56" y="282"/>
                    </a:lnTo>
                    <a:lnTo>
                      <a:pt x="40" y="296"/>
                    </a:lnTo>
                    <a:lnTo>
                      <a:pt x="40" y="328"/>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3" name="Freeform 37">
                <a:extLst>
                  <a:ext uri="{FF2B5EF4-FFF2-40B4-BE49-F238E27FC236}">
                    <a16:creationId xmlns:a16="http://schemas.microsoft.com/office/drawing/2014/main" id="{8CC8092A-3F27-4EBE-B28E-718D4C8359FA}"/>
                  </a:ext>
                </a:extLst>
              </p:cNvPr>
              <p:cNvSpPr>
                <a:spLocks/>
              </p:cNvSpPr>
              <p:nvPr/>
            </p:nvSpPr>
            <p:spPr bwMode="auto">
              <a:xfrm>
                <a:off x="3016250" y="4730750"/>
                <a:ext cx="76200" cy="76200"/>
              </a:xfrm>
              <a:custGeom>
                <a:avLst/>
                <a:gdLst>
                  <a:gd name="T0" fmla="*/ 24 w 48"/>
                  <a:gd name="T1" fmla="*/ 48 h 48"/>
                  <a:gd name="T2" fmla="*/ 24 w 48"/>
                  <a:gd name="T3" fmla="*/ 48 h 48"/>
                  <a:gd name="T4" fmla="*/ 14 w 48"/>
                  <a:gd name="T5" fmla="*/ 46 h 48"/>
                  <a:gd name="T6" fmla="*/ 8 w 48"/>
                  <a:gd name="T7" fmla="*/ 40 h 48"/>
                  <a:gd name="T8" fmla="*/ 2 w 48"/>
                  <a:gd name="T9" fmla="*/ 34 h 48"/>
                  <a:gd name="T10" fmla="*/ 0 w 48"/>
                  <a:gd name="T11" fmla="*/ 24 h 48"/>
                  <a:gd name="T12" fmla="*/ 0 w 48"/>
                  <a:gd name="T13" fmla="*/ 24 h 48"/>
                  <a:gd name="T14" fmla="*/ 2 w 48"/>
                  <a:gd name="T15" fmla="*/ 14 h 48"/>
                  <a:gd name="T16" fmla="*/ 8 w 48"/>
                  <a:gd name="T17" fmla="*/ 8 h 48"/>
                  <a:gd name="T18" fmla="*/ 14 w 48"/>
                  <a:gd name="T19" fmla="*/ 2 h 48"/>
                  <a:gd name="T20" fmla="*/ 24 w 48"/>
                  <a:gd name="T21" fmla="*/ 0 h 48"/>
                  <a:gd name="T22" fmla="*/ 24 w 48"/>
                  <a:gd name="T23" fmla="*/ 0 h 48"/>
                  <a:gd name="T24" fmla="*/ 34 w 48"/>
                  <a:gd name="T25" fmla="*/ 2 h 48"/>
                  <a:gd name="T26" fmla="*/ 40 w 48"/>
                  <a:gd name="T27" fmla="*/ 8 h 48"/>
                  <a:gd name="T28" fmla="*/ 46 w 48"/>
                  <a:gd name="T29" fmla="*/ 14 h 48"/>
                  <a:gd name="T30" fmla="*/ 48 w 48"/>
                  <a:gd name="T31" fmla="*/ 24 h 48"/>
                  <a:gd name="T32" fmla="*/ 48 w 48"/>
                  <a:gd name="T33" fmla="*/ 24 h 48"/>
                  <a:gd name="T34" fmla="*/ 46 w 48"/>
                  <a:gd name="T35" fmla="*/ 34 h 48"/>
                  <a:gd name="T36" fmla="*/ 40 w 48"/>
                  <a:gd name="T37" fmla="*/ 40 h 48"/>
                  <a:gd name="T38" fmla="*/ 34 w 48"/>
                  <a:gd name="T39" fmla="*/ 46 h 48"/>
                  <a:gd name="T40" fmla="*/ 24 w 48"/>
                  <a:gd name="T41" fmla="*/ 48 h 48"/>
                  <a:gd name="T42" fmla="*/ 24 w 48"/>
                  <a:gd name="T4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24" y="48"/>
                    </a:move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4" name="Freeform 38">
                <a:extLst>
                  <a:ext uri="{FF2B5EF4-FFF2-40B4-BE49-F238E27FC236}">
                    <a16:creationId xmlns:a16="http://schemas.microsoft.com/office/drawing/2014/main" id="{E5D4CD78-0231-4ADB-996C-946B1A507020}"/>
                  </a:ext>
                </a:extLst>
              </p:cNvPr>
              <p:cNvSpPr>
                <a:spLocks/>
              </p:cNvSpPr>
              <p:nvPr/>
            </p:nvSpPr>
            <p:spPr bwMode="auto">
              <a:xfrm>
                <a:off x="2711450" y="4806950"/>
                <a:ext cx="127000" cy="76200"/>
              </a:xfrm>
              <a:custGeom>
                <a:avLst/>
                <a:gdLst>
                  <a:gd name="T0" fmla="*/ 0 w 80"/>
                  <a:gd name="T1" fmla="*/ 0 h 48"/>
                  <a:gd name="T2" fmla="*/ 32 w 80"/>
                  <a:gd name="T3" fmla="*/ 0 h 48"/>
                  <a:gd name="T4" fmla="*/ 64 w 80"/>
                  <a:gd name="T5" fmla="*/ 48 h 48"/>
                  <a:gd name="T6" fmla="*/ 80 w 80"/>
                  <a:gd name="T7" fmla="*/ 48 h 48"/>
                </a:gdLst>
                <a:ahLst/>
                <a:cxnLst>
                  <a:cxn ang="0">
                    <a:pos x="T0" y="T1"/>
                  </a:cxn>
                  <a:cxn ang="0">
                    <a:pos x="T2" y="T3"/>
                  </a:cxn>
                  <a:cxn ang="0">
                    <a:pos x="T4" y="T5"/>
                  </a:cxn>
                  <a:cxn ang="0">
                    <a:pos x="T6" y="T7"/>
                  </a:cxn>
                </a:cxnLst>
                <a:rect l="0" t="0" r="r" b="b"/>
                <a:pathLst>
                  <a:path w="80" h="48">
                    <a:moveTo>
                      <a:pt x="0" y="0"/>
                    </a:moveTo>
                    <a:lnTo>
                      <a:pt x="32" y="0"/>
                    </a:lnTo>
                    <a:lnTo>
                      <a:pt x="64" y="48"/>
                    </a:lnTo>
                    <a:lnTo>
                      <a:pt x="80" y="48"/>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5" name="Line 39">
                <a:extLst>
                  <a:ext uri="{FF2B5EF4-FFF2-40B4-BE49-F238E27FC236}">
                    <a16:creationId xmlns:a16="http://schemas.microsoft.com/office/drawing/2014/main" id="{1A096F76-5672-444A-8CC2-407D161DB1D7}"/>
                  </a:ext>
                </a:extLst>
              </p:cNvPr>
              <p:cNvSpPr>
                <a:spLocks noChangeShapeType="1"/>
              </p:cNvSpPr>
              <p:nvPr/>
            </p:nvSpPr>
            <p:spPr bwMode="auto">
              <a:xfrm>
                <a:off x="2711450" y="4946650"/>
                <a:ext cx="635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6" name="Freeform 40">
                <a:extLst>
                  <a:ext uri="{FF2B5EF4-FFF2-40B4-BE49-F238E27FC236}">
                    <a16:creationId xmlns:a16="http://schemas.microsoft.com/office/drawing/2014/main" id="{9FC0A7D2-00C2-4933-9DB8-70A804E9B7A8}"/>
                  </a:ext>
                </a:extLst>
              </p:cNvPr>
              <p:cNvSpPr>
                <a:spLocks/>
              </p:cNvSpPr>
              <p:nvPr/>
            </p:nvSpPr>
            <p:spPr bwMode="auto">
              <a:xfrm>
                <a:off x="2635250" y="4768850"/>
                <a:ext cx="76200" cy="76200"/>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8 h 48"/>
                  <a:gd name="T28" fmla="*/ 14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7" name="Freeform 41">
                <a:extLst>
                  <a:ext uri="{FF2B5EF4-FFF2-40B4-BE49-F238E27FC236}">
                    <a16:creationId xmlns:a16="http://schemas.microsoft.com/office/drawing/2014/main" id="{AEC13CEA-8954-4BA0-B79D-4CBA521A892E}"/>
                  </a:ext>
                </a:extLst>
              </p:cNvPr>
              <p:cNvSpPr>
                <a:spLocks/>
              </p:cNvSpPr>
              <p:nvPr/>
            </p:nvSpPr>
            <p:spPr bwMode="auto">
              <a:xfrm>
                <a:off x="2711450" y="5010150"/>
                <a:ext cx="127000" cy="76200"/>
              </a:xfrm>
              <a:custGeom>
                <a:avLst/>
                <a:gdLst>
                  <a:gd name="T0" fmla="*/ 0 w 80"/>
                  <a:gd name="T1" fmla="*/ 48 h 48"/>
                  <a:gd name="T2" fmla="*/ 32 w 80"/>
                  <a:gd name="T3" fmla="*/ 48 h 48"/>
                  <a:gd name="T4" fmla="*/ 64 w 80"/>
                  <a:gd name="T5" fmla="*/ 0 h 48"/>
                  <a:gd name="T6" fmla="*/ 80 w 80"/>
                  <a:gd name="T7" fmla="*/ 0 h 48"/>
                </a:gdLst>
                <a:ahLst/>
                <a:cxnLst>
                  <a:cxn ang="0">
                    <a:pos x="T0" y="T1"/>
                  </a:cxn>
                  <a:cxn ang="0">
                    <a:pos x="T2" y="T3"/>
                  </a:cxn>
                  <a:cxn ang="0">
                    <a:pos x="T4" y="T5"/>
                  </a:cxn>
                  <a:cxn ang="0">
                    <a:pos x="T6" y="T7"/>
                  </a:cxn>
                </a:cxnLst>
                <a:rect l="0" t="0" r="r" b="b"/>
                <a:pathLst>
                  <a:path w="80" h="48">
                    <a:moveTo>
                      <a:pt x="0" y="48"/>
                    </a:moveTo>
                    <a:lnTo>
                      <a:pt x="32" y="48"/>
                    </a:lnTo>
                    <a:lnTo>
                      <a:pt x="64" y="0"/>
                    </a:lnTo>
                    <a:lnTo>
                      <a:pt x="80" y="0"/>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8" name="Freeform 42">
                <a:extLst>
                  <a:ext uri="{FF2B5EF4-FFF2-40B4-BE49-F238E27FC236}">
                    <a16:creationId xmlns:a16="http://schemas.microsoft.com/office/drawing/2014/main" id="{1BD41289-ECE8-403C-8FF5-6326704AEB3D}"/>
                  </a:ext>
                </a:extLst>
              </p:cNvPr>
              <p:cNvSpPr>
                <a:spLocks/>
              </p:cNvSpPr>
              <p:nvPr/>
            </p:nvSpPr>
            <p:spPr bwMode="auto">
              <a:xfrm>
                <a:off x="2635250" y="5048250"/>
                <a:ext cx="76200" cy="76200"/>
              </a:xfrm>
              <a:custGeom>
                <a:avLst/>
                <a:gdLst>
                  <a:gd name="T0" fmla="*/ 48 w 48"/>
                  <a:gd name="T1" fmla="*/ 24 h 48"/>
                  <a:gd name="T2" fmla="*/ 48 w 48"/>
                  <a:gd name="T3" fmla="*/ 24 h 48"/>
                  <a:gd name="T4" fmla="*/ 46 w 48"/>
                  <a:gd name="T5" fmla="*/ 14 h 48"/>
                  <a:gd name="T6" fmla="*/ 40 w 48"/>
                  <a:gd name="T7" fmla="*/ 8 h 48"/>
                  <a:gd name="T8" fmla="*/ 34 w 48"/>
                  <a:gd name="T9" fmla="*/ 2 h 48"/>
                  <a:gd name="T10" fmla="*/ 24 w 48"/>
                  <a:gd name="T11" fmla="*/ 0 h 48"/>
                  <a:gd name="T12" fmla="*/ 24 w 48"/>
                  <a:gd name="T13" fmla="*/ 0 h 48"/>
                  <a:gd name="T14" fmla="*/ 14 w 48"/>
                  <a:gd name="T15" fmla="*/ 2 h 48"/>
                  <a:gd name="T16" fmla="*/ 8 w 48"/>
                  <a:gd name="T17" fmla="*/ 8 h 48"/>
                  <a:gd name="T18" fmla="*/ 2 w 48"/>
                  <a:gd name="T19" fmla="*/ 14 h 48"/>
                  <a:gd name="T20" fmla="*/ 0 w 48"/>
                  <a:gd name="T21" fmla="*/ 24 h 48"/>
                  <a:gd name="T22" fmla="*/ 0 w 48"/>
                  <a:gd name="T23" fmla="*/ 24 h 48"/>
                  <a:gd name="T24" fmla="*/ 2 w 48"/>
                  <a:gd name="T25" fmla="*/ 34 h 48"/>
                  <a:gd name="T26" fmla="*/ 8 w 48"/>
                  <a:gd name="T27" fmla="*/ 40 h 48"/>
                  <a:gd name="T28" fmla="*/ 14 w 48"/>
                  <a:gd name="T29" fmla="*/ 46 h 48"/>
                  <a:gd name="T30" fmla="*/ 24 w 48"/>
                  <a:gd name="T31" fmla="*/ 48 h 48"/>
                  <a:gd name="T32" fmla="*/ 24 w 48"/>
                  <a:gd name="T33" fmla="*/ 48 h 48"/>
                  <a:gd name="T34" fmla="*/ 34 w 48"/>
                  <a:gd name="T35" fmla="*/ 46 h 48"/>
                  <a:gd name="T36" fmla="*/ 40 w 48"/>
                  <a:gd name="T37" fmla="*/ 40 h 48"/>
                  <a:gd name="T38" fmla="*/ 46 w 48"/>
                  <a:gd name="T39" fmla="*/ 3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14"/>
                    </a:lnTo>
                    <a:lnTo>
                      <a:pt x="40" y="8"/>
                    </a:lnTo>
                    <a:lnTo>
                      <a:pt x="34" y="2"/>
                    </a:lnTo>
                    <a:lnTo>
                      <a:pt x="24" y="0"/>
                    </a:lnTo>
                    <a:lnTo>
                      <a:pt x="24" y="0"/>
                    </a:lnTo>
                    <a:lnTo>
                      <a:pt x="14" y="2"/>
                    </a:lnTo>
                    <a:lnTo>
                      <a:pt x="8" y="8"/>
                    </a:lnTo>
                    <a:lnTo>
                      <a:pt x="2" y="14"/>
                    </a:lnTo>
                    <a:lnTo>
                      <a:pt x="0" y="24"/>
                    </a:lnTo>
                    <a:lnTo>
                      <a:pt x="0" y="24"/>
                    </a:lnTo>
                    <a:lnTo>
                      <a:pt x="2" y="34"/>
                    </a:lnTo>
                    <a:lnTo>
                      <a:pt x="8" y="40"/>
                    </a:lnTo>
                    <a:lnTo>
                      <a:pt x="14" y="46"/>
                    </a:lnTo>
                    <a:lnTo>
                      <a:pt x="24" y="48"/>
                    </a:lnTo>
                    <a:lnTo>
                      <a:pt x="24" y="48"/>
                    </a:lnTo>
                    <a:lnTo>
                      <a:pt x="34" y="46"/>
                    </a:lnTo>
                    <a:lnTo>
                      <a:pt x="40" y="40"/>
                    </a:lnTo>
                    <a:lnTo>
                      <a:pt x="46" y="3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29" name="Freeform 43">
                <a:extLst>
                  <a:ext uri="{FF2B5EF4-FFF2-40B4-BE49-F238E27FC236}">
                    <a16:creationId xmlns:a16="http://schemas.microsoft.com/office/drawing/2014/main" id="{FEA2D81F-E6C2-452E-BB00-75C3AB573FE3}"/>
                  </a:ext>
                </a:extLst>
              </p:cNvPr>
              <p:cNvSpPr>
                <a:spLocks/>
              </p:cNvSpPr>
              <p:nvPr/>
            </p:nvSpPr>
            <p:spPr bwMode="auto">
              <a:xfrm>
                <a:off x="2635250" y="4908550"/>
                <a:ext cx="76200" cy="76200"/>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8 h 48"/>
                  <a:gd name="T28" fmla="*/ 14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0" name="Freeform 44">
                <a:extLst>
                  <a:ext uri="{FF2B5EF4-FFF2-40B4-BE49-F238E27FC236}">
                    <a16:creationId xmlns:a16="http://schemas.microsoft.com/office/drawing/2014/main" id="{AB0086C7-05FC-4FF7-B4DA-9BB6DC282739}"/>
                  </a:ext>
                </a:extLst>
              </p:cNvPr>
              <p:cNvSpPr>
                <a:spLocks/>
              </p:cNvSpPr>
              <p:nvPr/>
            </p:nvSpPr>
            <p:spPr bwMode="auto">
              <a:xfrm>
                <a:off x="2787650" y="5073650"/>
                <a:ext cx="139700" cy="88900"/>
              </a:xfrm>
              <a:custGeom>
                <a:avLst/>
                <a:gdLst>
                  <a:gd name="T0" fmla="*/ 0 w 88"/>
                  <a:gd name="T1" fmla="*/ 56 h 56"/>
                  <a:gd name="T2" fmla="*/ 40 w 88"/>
                  <a:gd name="T3" fmla="*/ 0 h 56"/>
                  <a:gd name="T4" fmla="*/ 88 w 88"/>
                  <a:gd name="T5" fmla="*/ 0 h 56"/>
                </a:gdLst>
                <a:ahLst/>
                <a:cxnLst>
                  <a:cxn ang="0">
                    <a:pos x="T0" y="T1"/>
                  </a:cxn>
                  <a:cxn ang="0">
                    <a:pos x="T2" y="T3"/>
                  </a:cxn>
                  <a:cxn ang="0">
                    <a:pos x="T4" y="T5"/>
                  </a:cxn>
                </a:cxnLst>
                <a:rect l="0" t="0" r="r" b="b"/>
                <a:pathLst>
                  <a:path w="88" h="56">
                    <a:moveTo>
                      <a:pt x="0" y="56"/>
                    </a:moveTo>
                    <a:lnTo>
                      <a:pt x="40" y="0"/>
                    </a:lnTo>
                    <a:lnTo>
                      <a:pt x="88" y="0"/>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1" name="Freeform 45">
                <a:extLst>
                  <a:ext uri="{FF2B5EF4-FFF2-40B4-BE49-F238E27FC236}">
                    <a16:creationId xmlns:a16="http://schemas.microsoft.com/office/drawing/2014/main" id="{FAAAD1FD-20E8-4449-B423-2452BED7F038}"/>
                  </a:ext>
                </a:extLst>
              </p:cNvPr>
              <p:cNvSpPr>
                <a:spLocks/>
              </p:cNvSpPr>
              <p:nvPr/>
            </p:nvSpPr>
            <p:spPr bwMode="auto">
              <a:xfrm>
                <a:off x="2724150" y="5162550"/>
                <a:ext cx="76200" cy="76200"/>
              </a:xfrm>
              <a:custGeom>
                <a:avLst/>
                <a:gdLst>
                  <a:gd name="T0" fmla="*/ 48 w 48"/>
                  <a:gd name="T1" fmla="*/ 24 h 48"/>
                  <a:gd name="T2" fmla="*/ 48 w 48"/>
                  <a:gd name="T3" fmla="*/ 24 h 48"/>
                  <a:gd name="T4" fmla="*/ 46 w 48"/>
                  <a:gd name="T5" fmla="*/ 14 h 48"/>
                  <a:gd name="T6" fmla="*/ 40 w 48"/>
                  <a:gd name="T7" fmla="*/ 8 h 48"/>
                  <a:gd name="T8" fmla="*/ 34 w 48"/>
                  <a:gd name="T9" fmla="*/ 2 h 48"/>
                  <a:gd name="T10" fmla="*/ 24 w 48"/>
                  <a:gd name="T11" fmla="*/ 0 h 48"/>
                  <a:gd name="T12" fmla="*/ 24 w 48"/>
                  <a:gd name="T13" fmla="*/ 0 h 48"/>
                  <a:gd name="T14" fmla="*/ 14 w 48"/>
                  <a:gd name="T15" fmla="*/ 2 h 48"/>
                  <a:gd name="T16" fmla="*/ 8 w 48"/>
                  <a:gd name="T17" fmla="*/ 8 h 48"/>
                  <a:gd name="T18" fmla="*/ 2 w 48"/>
                  <a:gd name="T19" fmla="*/ 14 h 48"/>
                  <a:gd name="T20" fmla="*/ 0 w 48"/>
                  <a:gd name="T21" fmla="*/ 24 h 48"/>
                  <a:gd name="T22" fmla="*/ 0 w 48"/>
                  <a:gd name="T23" fmla="*/ 24 h 48"/>
                  <a:gd name="T24" fmla="*/ 2 w 48"/>
                  <a:gd name="T25" fmla="*/ 34 h 48"/>
                  <a:gd name="T26" fmla="*/ 8 w 48"/>
                  <a:gd name="T27" fmla="*/ 40 h 48"/>
                  <a:gd name="T28" fmla="*/ 14 w 48"/>
                  <a:gd name="T29" fmla="*/ 46 h 48"/>
                  <a:gd name="T30" fmla="*/ 24 w 48"/>
                  <a:gd name="T31" fmla="*/ 48 h 48"/>
                  <a:gd name="T32" fmla="*/ 24 w 48"/>
                  <a:gd name="T33" fmla="*/ 48 h 48"/>
                  <a:gd name="T34" fmla="*/ 34 w 48"/>
                  <a:gd name="T35" fmla="*/ 46 h 48"/>
                  <a:gd name="T36" fmla="*/ 40 w 48"/>
                  <a:gd name="T37" fmla="*/ 40 h 48"/>
                  <a:gd name="T38" fmla="*/ 46 w 48"/>
                  <a:gd name="T39" fmla="*/ 3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14"/>
                    </a:lnTo>
                    <a:lnTo>
                      <a:pt x="40" y="8"/>
                    </a:lnTo>
                    <a:lnTo>
                      <a:pt x="34" y="2"/>
                    </a:lnTo>
                    <a:lnTo>
                      <a:pt x="24" y="0"/>
                    </a:lnTo>
                    <a:lnTo>
                      <a:pt x="24" y="0"/>
                    </a:lnTo>
                    <a:lnTo>
                      <a:pt x="14" y="2"/>
                    </a:lnTo>
                    <a:lnTo>
                      <a:pt x="8" y="8"/>
                    </a:lnTo>
                    <a:lnTo>
                      <a:pt x="2" y="14"/>
                    </a:lnTo>
                    <a:lnTo>
                      <a:pt x="0" y="24"/>
                    </a:lnTo>
                    <a:lnTo>
                      <a:pt x="0" y="24"/>
                    </a:lnTo>
                    <a:lnTo>
                      <a:pt x="2" y="34"/>
                    </a:lnTo>
                    <a:lnTo>
                      <a:pt x="8" y="40"/>
                    </a:lnTo>
                    <a:lnTo>
                      <a:pt x="14" y="46"/>
                    </a:lnTo>
                    <a:lnTo>
                      <a:pt x="24" y="48"/>
                    </a:lnTo>
                    <a:lnTo>
                      <a:pt x="24" y="48"/>
                    </a:lnTo>
                    <a:lnTo>
                      <a:pt x="34" y="46"/>
                    </a:lnTo>
                    <a:lnTo>
                      <a:pt x="40" y="40"/>
                    </a:lnTo>
                    <a:lnTo>
                      <a:pt x="46" y="3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2" name="Line 46">
                <a:extLst>
                  <a:ext uri="{FF2B5EF4-FFF2-40B4-BE49-F238E27FC236}">
                    <a16:creationId xmlns:a16="http://schemas.microsoft.com/office/drawing/2014/main" id="{3C8D0829-46E8-4D7B-9C15-826F93C94184}"/>
                  </a:ext>
                </a:extLst>
              </p:cNvPr>
              <p:cNvSpPr>
                <a:spLocks noChangeShapeType="1"/>
              </p:cNvSpPr>
              <p:nvPr/>
            </p:nvSpPr>
            <p:spPr bwMode="auto">
              <a:xfrm flipH="1">
                <a:off x="2851150" y="49466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3" name="Line 47">
                <a:extLst>
                  <a:ext uri="{FF2B5EF4-FFF2-40B4-BE49-F238E27FC236}">
                    <a16:creationId xmlns:a16="http://schemas.microsoft.com/office/drawing/2014/main" id="{0EAFD108-5952-4371-8D7C-C60893AA74BE}"/>
                  </a:ext>
                </a:extLst>
              </p:cNvPr>
              <p:cNvSpPr>
                <a:spLocks noChangeShapeType="1"/>
              </p:cNvSpPr>
              <p:nvPr/>
            </p:nvSpPr>
            <p:spPr bwMode="auto">
              <a:xfrm flipH="1">
                <a:off x="2800350" y="49466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4" name="Line 48">
                <a:extLst>
                  <a:ext uri="{FF2B5EF4-FFF2-40B4-BE49-F238E27FC236}">
                    <a16:creationId xmlns:a16="http://schemas.microsoft.com/office/drawing/2014/main" id="{A859E70B-5DBD-4895-9109-076085A8153F}"/>
                  </a:ext>
                </a:extLst>
              </p:cNvPr>
              <p:cNvSpPr>
                <a:spLocks noChangeShapeType="1"/>
              </p:cNvSpPr>
              <p:nvPr/>
            </p:nvSpPr>
            <p:spPr bwMode="auto">
              <a:xfrm>
                <a:off x="2863850" y="4883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5" name="Line 49">
                <a:extLst>
                  <a:ext uri="{FF2B5EF4-FFF2-40B4-BE49-F238E27FC236}">
                    <a16:creationId xmlns:a16="http://schemas.microsoft.com/office/drawing/2014/main" id="{373115CD-1F28-4FE8-A8C5-8EBB0110D810}"/>
                  </a:ext>
                </a:extLst>
              </p:cNvPr>
              <p:cNvSpPr>
                <a:spLocks noChangeShapeType="1"/>
              </p:cNvSpPr>
              <p:nvPr/>
            </p:nvSpPr>
            <p:spPr bwMode="auto">
              <a:xfrm>
                <a:off x="3052968" y="5010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6" name="Line 50">
                <a:extLst>
                  <a:ext uri="{FF2B5EF4-FFF2-40B4-BE49-F238E27FC236}">
                    <a16:creationId xmlns:a16="http://schemas.microsoft.com/office/drawing/2014/main" id="{5F8509C5-1BA2-44BA-835F-C6346920FA90}"/>
                  </a:ext>
                </a:extLst>
              </p:cNvPr>
              <p:cNvSpPr>
                <a:spLocks noChangeShapeType="1"/>
              </p:cNvSpPr>
              <p:nvPr/>
            </p:nvSpPr>
            <p:spPr bwMode="auto">
              <a:xfrm>
                <a:off x="3091068" y="4946649"/>
                <a:ext cx="508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37" name="Line 51">
                <a:extLst>
                  <a:ext uri="{FF2B5EF4-FFF2-40B4-BE49-F238E27FC236}">
                    <a16:creationId xmlns:a16="http://schemas.microsoft.com/office/drawing/2014/main" id="{3A38DA8A-A63F-49FF-A27A-B62E2EE6ACFF}"/>
                  </a:ext>
                </a:extLst>
              </p:cNvPr>
              <p:cNvSpPr>
                <a:spLocks noChangeShapeType="1"/>
              </p:cNvSpPr>
              <p:nvPr/>
            </p:nvSpPr>
            <p:spPr bwMode="auto">
              <a:xfrm>
                <a:off x="2914650" y="5010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grpSp>
      </p:grpSp>
      <p:sp>
        <p:nvSpPr>
          <p:cNvPr id="42" name="Rectangle 5">
            <a:extLst>
              <a:ext uri="{FF2B5EF4-FFF2-40B4-BE49-F238E27FC236}">
                <a16:creationId xmlns:a16="http://schemas.microsoft.com/office/drawing/2014/main" id="{8BE4A038-5D0D-4380-88B8-80554628C67D}"/>
              </a:ext>
            </a:extLst>
          </p:cNvPr>
          <p:cNvSpPr>
            <a:spLocks noChangeArrowheads="1"/>
          </p:cNvSpPr>
          <p:nvPr/>
        </p:nvSpPr>
        <p:spPr bwMode="gray">
          <a:xfrm>
            <a:off x="5907872" y="4063742"/>
            <a:ext cx="5650610" cy="624786"/>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chemeClr val="tx2">
                  <a:lumMod val="90000"/>
                  <a:lumOff val="10000"/>
                </a:schemeClr>
              </a:buClr>
              <a:buSzPct val="75000"/>
            </a:pPr>
            <a:r>
              <a:rPr lang="en-US" sz="1400">
                <a:cs typeface="Calibri"/>
              </a:rPr>
              <a:t>Cooperate with architecture to ensure/enforce a framework of  rules and policies which manage data and its flow throughout the organization</a:t>
            </a:r>
          </a:p>
          <a:p>
            <a:pPr marL="125937" indent="-125937">
              <a:lnSpc>
                <a:spcPct val="90000"/>
              </a:lnSpc>
              <a:spcBef>
                <a:spcPct val="20000"/>
              </a:spcBef>
              <a:buClr>
                <a:schemeClr val="tx2">
                  <a:lumMod val="90000"/>
                  <a:lumOff val="10000"/>
                </a:schemeClr>
              </a:buClr>
              <a:buSzPct val="75000"/>
              <a:buFont typeface="Wingdings 3" panose="05040102010807070707" pitchFamily="18" charset="2"/>
              <a:buChar char=""/>
            </a:pPr>
            <a:endParaRPr lang="en-US" altLang="de-DE" sz="1400">
              <a:cs typeface="Calibri"/>
              <a:sym typeface="EYInterstate Light" panose="02000506000000020004" pitchFamily="2" charset="0"/>
            </a:endParaRPr>
          </a:p>
        </p:txBody>
      </p:sp>
      <p:cxnSp>
        <p:nvCxnSpPr>
          <p:cNvPr id="49" name="Straight Connector 48">
            <a:extLst>
              <a:ext uri="{FF2B5EF4-FFF2-40B4-BE49-F238E27FC236}">
                <a16:creationId xmlns:a16="http://schemas.microsoft.com/office/drawing/2014/main" id="{6AF9E052-F7B6-449B-986C-9FBC3F302B0D}"/>
              </a:ext>
            </a:extLst>
          </p:cNvPr>
          <p:cNvCxnSpPr>
            <a:cxnSpLocks/>
          </p:cNvCxnSpPr>
          <p:nvPr/>
        </p:nvCxnSpPr>
        <p:spPr>
          <a:xfrm>
            <a:off x="3323981" y="4717800"/>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2A83FA50-10E6-4639-A125-81952AB22692}"/>
              </a:ext>
            </a:extLst>
          </p:cNvPr>
          <p:cNvGrpSpPr/>
          <p:nvPr/>
        </p:nvGrpSpPr>
        <p:grpSpPr>
          <a:xfrm>
            <a:off x="3303265" y="4113019"/>
            <a:ext cx="2332211" cy="459496"/>
            <a:chOff x="3309785" y="4020659"/>
            <a:chExt cx="2332211" cy="459496"/>
          </a:xfrm>
        </p:grpSpPr>
        <p:sp>
          <p:nvSpPr>
            <p:cNvPr id="41" name="Rectangle 5">
              <a:extLst>
                <a:ext uri="{FF2B5EF4-FFF2-40B4-BE49-F238E27FC236}">
                  <a16:creationId xmlns:a16="http://schemas.microsoft.com/office/drawing/2014/main" id="{F5901F92-FD46-43FB-83BC-7927A788855D}"/>
                </a:ext>
              </a:extLst>
            </p:cNvPr>
            <p:cNvSpPr>
              <a:spLocks noChangeArrowheads="1"/>
            </p:cNvSpPr>
            <p:nvPr/>
          </p:nvSpPr>
          <p:spPr bwMode="gray">
            <a:xfrm>
              <a:off x="4051004" y="4095434"/>
              <a:ext cx="1590992" cy="384721"/>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r>
                <a:rPr lang="en-US" sz="1400" b="1">
                  <a:latin typeface="EYInterstate Light"/>
                  <a:sym typeface="EYInterstate Light" panose="02000506000000020004" pitchFamily="2" charset="0"/>
                </a:rPr>
                <a:t>Data</a:t>
              </a:r>
              <a:r>
                <a:rPr lang="en-US" sz="1400" b="1">
                  <a:sym typeface="EYInterstate Light" panose="02000506000000020004" pitchFamily="2" charset="0"/>
                </a:rPr>
                <a:t> </a:t>
              </a:r>
              <a:r>
                <a:rPr lang="en-US" sz="1400" b="1">
                  <a:latin typeface="EYInterstate Light"/>
                  <a:sym typeface="EYInterstate Light" panose="02000506000000020004" pitchFamily="2" charset="0"/>
                </a:rPr>
                <a:t>Architecture</a:t>
              </a:r>
            </a:p>
            <a:p>
              <a:endParaRPr lang="en-US" altLang="de-DE" sz="1100" b="1">
                <a:latin typeface="EYInterstate Light" panose="02000506000000020004" pitchFamily="2" charset="0"/>
                <a:sym typeface="EYInterstate Light" panose="02000506000000020004" pitchFamily="2" charset="0"/>
              </a:endParaRPr>
            </a:p>
          </p:txBody>
        </p:sp>
        <p:grpSp>
          <p:nvGrpSpPr>
            <p:cNvPr id="95" name="Group 94">
              <a:extLst>
                <a:ext uri="{FF2B5EF4-FFF2-40B4-BE49-F238E27FC236}">
                  <a16:creationId xmlns:a16="http://schemas.microsoft.com/office/drawing/2014/main" id="{105937A0-7F8B-4A3C-980F-832DB5F72F5D}"/>
                </a:ext>
              </a:extLst>
            </p:cNvPr>
            <p:cNvGrpSpPr/>
            <p:nvPr/>
          </p:nvGrpSpPr>
          <p:grpSpPr>
            <a:xfrm>
              <a:off x="3309785" y="4020659"/>
              <a:ext cx="468001" cy="359999"/>
              <a:chOff x="2628900" y="3689350"/>
              <a:chExt cx="584200" cy="495300"/>
            </a:xfrm>
          </p:grpSpPr>
          <p:sp>
            <p:nvSpPr>
              <p:cNvPr id="96" name="Rectangle 83">
                <a:extLst>
                  <a:ext uri="{FF2B5EF4-FFF2-40B4-BE49-F238E27FC236}">
                    <a16:creationId xmlns:a16="http://schemas.microsoft.com/office/drawing/2014/main" id="{D405D3A6-D2FB-459B-95C5-E5E3492A8717}"/>
                  </a:ext>
                </a:extLst>
              </p:cNvPr>
              <p:cNvSpPr>
                <a:spLocks noChangeArrowheads="1"/>
              </p:cNvSpPr>
              <p:nvPr/>
            </p:nvSpPr>
            <p:spPr bwMode="auto">
              <a:xfrm>
                <a:off x="28448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97" name="Rectangle 84">
                <a:extLst>
                  <a:ext uri="{FF2B5EF4-FFF2-40B4-BE49-F238E27FC236}">
                    <a16:creationId xmlns:a16="http://schemas.microsoft.com/office/drawing/2014/main" id="{5857DF15-EAFC-497F-9142-EF5925F8C5A5}"/>
                  </a:ext>
                </a:extLst>
              </p:cNvPr>
              <p:cNvSpPr>
                <a:spLocks noChangeArrowheads="1"/>
              </p:cNvSpPr>
              <p:nvPr/>
            </p:nvSpPr>
            <p:spPr bwMode="auto">
              <a:xfrm>
                <a:off x="2844800" y="36893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98" name="Rectangle 85">
                <a:extLst>
                  <a:ext uri="{FF2B5EF4-FFF2-40B4-BE49-F238E27FC236}">
                    <a16:creationId xmlns:a16="http://schemas.microsoft.com/office/drawing/2014/main" id="{88890383-1C45-4B55-B8DD-399AECB3AA21}"/>
                  </a:ext>
                </a:extLst>
              </p:cNvPr>
              <p:cNvSpPr>
                <a:spLocks noChangeArrowheads="1"/>
              </p:cNvSpPr>
              <p:nvPr/>
            </p:nvSpPr>
            <p:spPr bwMode="auto">
              <a:xfrm>
                <a:off x="26289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99" name="Rectangle 86">
                <a:extLst>
                  <a:ext uri="{FF2B5EF4-FFF2-40B4-BE49-F238E27FC236}">
                    <a16:creationId xmlns:a16="http://schemas.microsoft.com/office/drawing/2014/main" id="{E35304CE-F9B7-4205-B097-B7F9DCF5425A}"/>
                  </a:ext>
                </a:extLst>
              </p:cNvPr>
              <p:cNvSpPr>
                <a:spLocks noChangeArrowheads="1"/>
              </p:cNvSpPr>
              <p:nvPr/>
            </p:nvSpPr>
            <p:spPr bwMode="auto">
              <a:xfrm>
                <a:off x="30607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00" name="Line 87">
                <a:extLst>
                  <a:ext uri="{FF2B5EF4-FFF2-40B4-BE49-F238E27FC236}">
                    <a16:creationId xmlns:a16="http://schemas.microsoft.com/office/drawing/2014/main" id="{25FB3E45-8B9F-482C-BE7D-7FC14DE997DE}"/>
                  </a:ext>
                </a:extLst>
              </p:cNvPr>
              <p:cNvSpPr>
                <a:spLocks noChangeShapeType="1"/>
              </p:cNvSpPr>
              <p:nvPr/>
            </p:nvSpPr>
            <p:spPr bwMode="auto">
              <a:xfrm flipV="1">
                <a:off x="2921000" y="3841750"/>
                <a:ext cx="0" cy="190500"/>
              </a:xfrm>
              <a:prstGeom prst="line">
                <a:avLst/>
              </a:prstGeom>
              <a:noFill/>
              <a:ln w="254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01" name="Freeform 88">
                <a:extLst>
                  <a:ext uri="{FF2B5EF4-FFF2-40B4-BE49-F238E27FC236}">
                    <a16:creationId xmlns:a16="http://schemas.microsoft.com/office/drawing/2014/main" id="{8919F938-A62E-4477-81A6-C78A60AB22E5}"/>
                  </a:ext>
                </a:extLst>
              </p:cNvPr>
              <p:cNvSpPr>
                <a:spLocks/>
              </p:cNvSpPr>
              <p:nvPr/>
            </p:nvSpPr>
            <p:spPr bwMode="auto">
              <a:xfrm>
                <a:off x="2705100" y="3930650"/>
                <a:ext cx="431800" cy="101600"/>
              </a:xfrm>
              <a:custGeom>
                <a:avLst/>
                <a:gdLst>
                  <a:gd name="T0" fmla="*/ 0 w 272"/>
                  <a:gd name="T1" fmla="*/ 64 h 64"/>
                  <a:gd name="T2" fmla="*/ 0 w 272"/>
                  <a:gd name="T3" fmla="*/ 0 h 64"/>
                  <a:gd name="T4" fmla="*/ 272 w 272"/>
                  <a:gd name="T5" fmla="*/ 0 h 64"/>
                  <a:gd name="T6" fmla="*/ 272 w 272"/>
                  <a:gd name="T7" fmla="*/ 64 h 64"/>
                </a:gdLst>
                <a:ahLst/>
                <a:cxnLst>
                  <a:cxn ang="0">
                    <a:pos x="T0" y="T1"/>
                  </a:cxn>
                  <a:cxn ang="0">
                    <a:pos x="T2" y="T3"/>
                  </a:cxn>
                  <a:cxn ang="0">
                    <a:pos x="T4" y="T5"/>
                  </a:cxn>
                  <a:cxn ang="0">
                    <a:pos x="T6" y="T7"/>
                  </a:cxn>
                </a:cxnLst>
                <a:rect l="0" t="0" r="r" b="b"/>
                <a:pathLst>
                  <a:path w="272" h="64">
                    <a:moveTo>
                      <a:pt x="0" y="64"/>
                    </a:moveTo>
                    <a:lnTo>
                      <a:pt x="0" y="0"/>
                    </a:lnTo>
                    <a:lnTo>
                      <a:pt x="272" y="0"/>
                    </a:lnTo>
                    <a:lnTo>
                      <a:pt x="272" y="64"/>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grpSp>
      </p:grpSp>
      <p:sp>
        <p:nvSpPr>
          <p:cNvPr id="40" name="Rectangle 39">
            <a:extLst>
              <a:ext uri="{FF2B5EF4-FFF2-40B4-BE49-F238E27FC236}">
                <a16:creationId xmlns:a16="http://schemas.microsoft.com/office/drawing/2014/main" id="{0B0E06F9-3107-4C76-BC80-1B16B169FCEF}"/>
              </a:ext>
            </a:extLst>
          </p:cNvPr>
          <p:cNvSpPr>
            <a:spLocks noChangeArrowheads="1"/>
          </p:cNvSpPr>
          <p:nvPr/>
        </p:nvSpPr>
        <p:spPr bwMode="gray">
          <a:xfrm>
            <a:off x="5907873" y="1474809"/>
            <a:ext cx="5650610" cy="581698"/>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chemeClr val="tx2">
                  <a:lumMod val="90000"/>
                  <a:lumOff val="10000"/>
                </a:schemeClr>
              </a:buClr>
              <a:buSzPct val="75000"/>
            </a:pPr>
            <a:r>
              <a:rPr lang="en-US" sz="1400">
                <a:cs typeface="Calibri"/>
              </a:rPr>
              <a:t>Guide the creation of a data governance community (ownership/stewardship and set principles, policies and standards that ensure the effective and efficient use of information to support business initiatives.</a:t>
            </a:r>
          </a:p>
        </p:txBody>
      </p:sp>
      <p:cxnSp>
        <p:nvCxnSpPr>
          <p:cNvPr id="50" name="Straight Connector 49">
            <a:extLst>
              <a:ext uri="{FF2B5EF4-FFF2-40B4-BE49-F238E27FC236}">
                <a16:creationId xmlns:a16="http://schemas.microsoft.com/office/drawing/2014/main" id="{4B539176-B031-4022-96CD-24928968A934}"/>
              </a:ext>
            </a:extLst>
          </p:cNvPr>
          <p:cNvCxnSpPr>
            <a:cxnSpLocks/>
          </p:cNvCxnSpPr>
          <p:nvPr/>
        </p:nvCxnSpPr>
        <p:spPr>
          <a:xfrm>
            <a:off x="3323981" y="215858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08C2DD6-1AD1-4123-8C58-088C23D35104}"/>
              </a:ext>
            </a:extLst>
          </p:cNvPr>
          <p:cNvSpPr>
            <a:spLocks noChangeArrowheads="1"/>
          </p:cNvSpPr>
          <p:nvPr/>
        </p:nvSpPr>
        <p:spPr bwMode="gray">
          <a:xfrm>
            <a:off x="4043192" y="1653316"/>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defTabSz="829275" eaLnBrk="0" fontAlgn="base" hangingPunct="0">
              <a:defRPr/>
            </a:pPr>
            <a:r>
              <a:rPr lang="en-US" sz="1400" b="1">
                <a:latin typeface="EYInterstate Light"/>
                <a:sym typeface="EYInterstate Light" panose="02000506000000020004" pitchFamily="2" charset="0"/>
              </a:rPr>
              <a:t>Data Governance</a:t>
            </a:r>
          </a:p>
        </p:txBody>
      </p:sp>
      <p:grpSp>
        <p:nvGrpSpPr>
          <p:cNvPr id="138" name="Group 137">
            <a:extLst>
              <a:ext uri="{FF2B5EF4-FFF2-40B4-BE49-F238E27FC236}">
                <a16:creationId xmlns:a16="http://schemas.microsoft.com/office/drawing/2014/main" id="{4A3D8CB1-82D6-4968-BF0E-40AFC1E749F1}"/>
              </a:ext>
            </a:extLst>
          </p:cNvPr>
          <p:cNvGrpSpPr/>
          <p:nvPr/>
        </p:nvGrpSpPr>
        <p:grpSpPr>
          <a:xfrm>
            <a:off x="3361965" y="1519574"/>
            <a:ext cx="432001" cy="468002"/>
            <a:chOff x="6730982" y="1644650"/>
            <a:chExt cx="536573" cy="542925"/>
          </a:xfrm>
        </p:grpSpPr>
        <p:sp>
          <p:nvSpPr>
            <p:cNvPr id="139" name="Freeform 34">
              <a:extLst>
                <a:ext uri="{FF2B5EF4-FFF2-40B4-BE49-F238E27FC236}">
                  <a16:creationId xmlns:a16="http://schemas.microsoft.com/office/drawing/2014/main" id="{A5EADC03-9C00-4BFE-9117-C87EC29EDC08}"/>
                </a:ext>
              </a:extLst>
            </p:cNvPr>
            <p:cNvSpPr>
              <a:spLocks/>
            </p:cNvSpPr>
            <p:nvPr/>
          </p:nvSpPr>
          <p:spPr bwMode="auto">
            <a:xfrm>
              <a:off x="6730988" y="1644650"/>
              <a:ext cx="406399" cy="279400"/>
            </a:xfrm>
            <a:custGeom>
              <a:avLst/>
              <a:gdLst>
                <a:gd name="T0" fmla="*/ 256 w 256"/>
                <a:gd name="T1" fmla="*/ 120 h 176"/>
                <a:gd name="T2" fmla="*/ 256 w 256"/>
                <a:gd name="T3" fmla="*/ 48 h 176"/>
                <a:gd name="T4" fmla="*/ 256 w 256"/>
                <a:gd name="T5" fmla="*/ 48 h 176"/>
                <a:gd name="T6" fmla="*/ 256 w 256"/>
                <a:gd name="T7" fmla="*/ 44 h 176"/>
                <a:gd name="T8" fmla="*/ 254 w 256"/>
                <a:gd name="T9" fmla="*/ 38 h 176"/>
                <a:gd name="T10" fmla="*/ 246 w 256"/>
                <a:gd name="T11" fmla="*/ 30 h 176"/>
                <a:gd name="T12" fmla="*/ 234 w 256"/>
                <a:gd name="T13" fmla="*/ 22 h 176"/>
                <a:gd name="T14" fmla="*/ 218 w 256"/>
                <a:gd name="T15" fmla="*/ 14 h 176"/>
                <a:gd name="T16" fmla="*/ 200 w 256"/>
                <a:gd name="T17" fmla="*/ 8 h 176"/>
                <a:gd name="T18" fmla="*/ 178 w 256"/>
                <a:gd name="T19" fmla="*/ 4 h 176"/>
                <a:gd name="T20" fmla="*/ 154 w 256"/>
                <a:gd name="T21" fmla="*/ 0 h 176"/>
                <a:gd name="T22" fmla="*/ 128 w 256"/>
                <a:gd name="T23" fmla="*/ 0 h 176"/>
                <a:gd name="T24" fmla="*/ 128 w 256"/>
                <a:gd name="T25" fmla="*/ 0 h 176"/>
                <a:gd name="T26" fmla="*/ 102 w 256"/>
                <a:gd name="T27" fmla="*/ 0 h 176"/>
                <a:gd name="T28" fmla="*/ 78 w 256"/>
                <a:gd name="T29" fmla="*/ 4 h 176"/>
                <a:gd name="T30" fmla="*/ 56 w 256"/>
                <a:gd name="T31" fmla="*/ 8 h 176"/>
                <a:gd name="T32" fmla="*/ 38 w 256"/>
                <a:gd name="T33" fmla="*/ 14 h 176"/>
                <a:gd name="T34" fmla="*/ 22 w 256"/>
                <a:gd name="T35" fmla="*/ 22 h 176"/>
                <a:gd name="T36" fmla="*/ 10 w 256"/>
                <a:gd name="T37" fmla="*/ 30 h 176"/>
                <a:gd name="T38" fmla="*/ 2 w 256"/>
                <a:gd name="T39" fmla="*/ 38 h 176"/>
                <a:gd name="T40" fmla="*/ 0 w 256"/>
                <a:gd name="T41" fmla="*/ 44 h 176"/>
                <a:gd name="T42" fmla="*/ 0 w 256"/>
                <a:gd name="T43" fmla="*/ 48 h 176"/>
                <a:gd name="T44" fmla="*/ 0 w 256"/>
                <a:gd name="T45" fmla="*/ 128 h 176"/>
                <a:gd name="T46" fmla="*/ 0 w 256"/>
                <a:gd name="T47" fmla="*/ 128 h 176"/>
                <a:gd name="T48" fmla="*/ 0 w 256"/>
                <a:gd name="T49" fmla="*/ 132 h 176"/>
                <a:gd name="T50" fmla="*/ 2 w 256"/>
                <a:gd name="T51" fmla="*/ 138 h 176"/>
                <a:gd name="T52" fmla="*/ 10 w 256"/>
                <a:gd name="T53" fmla="*/ 146 h 176"/>
                <a:gd name="T54" fmla="*/ 22 w 256"/>
                <a:gd name="T55" fmla="*/ 154 h 176"/>
                <a:gd name="T56" fmla="*/ 38 w 256"/>
                <a:gd name="T57" fmla="*/ 162 h 176"/>
                <a:gd name="T58" fmla="*/ 56 w 256"/>
                <a:gd name="T59" fmla="*/ 168 h 176"/>
                <a:gd name="T60" fmla="*/ 78 w 256"/>
                <a:gd name="T61" fmla="*/ 172 h 176"/>
                <a:gd name="T62" fmla="*/ 102 w 256"/>
                <a:gd name="T63" fmla="*/ 176 h 176"/>
                <a:gd name="T64" fmla="*/ 128 w 256"/>
                <a:gd name="T65" fmla="*/ 176 h 176"/>
                <a:gd name="T66" fmla="*/ 128 w 256"/>
                <a:gd name="T67" fmla="*/ 176 h 176"/>
                <a:gd name="T68" fmla="*/ 136 w 256"/>
                <a:gd name="T6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176">
                  <a:moveTo>
                    <a:pt x="256" y="120"/>
                  </a:moveTo>
                  <a:lnTo>
                    <a:pt x="256" y="48"/>
                  </a:lnTo>
                  <a:lnTo>
                    <a:pt x="256" y="48"/>
                  </a:lnTo>
                  <a:lnTo>
                    <a:pt x="256" y="44"/>
                  </a:lnTo>
                  <a:lnTo>
                    <a:pt x="254" y="38"/>
                  </a:lnTo>
                  <a:lnTo>
                    <a:pt x="246" y="30"/>
                  </a:lnTo>
                  <a:lnTo>
                    <a:pt x="234" y="22"/>
                  </a:lnTo>
                  <a:lnTo>
                    <a:pt x="218" y="14"/>
                  </a:lnTo>
                  <a:lnTo>
                    <a:pt x="200" y="8"/>
                  </a:lnTo>
                  <a:lnTo>
                    <a:pt x="178" y="4"/>
                  </a:lnTo>
                  <a:lnTo>
                    <a:pt x="154" y="0"/>
                  </a:lnTo>
                  <a:lnTo>
                    <a:pt x="128" y="0"/>
                  </a:lnTo>
                  <a:lnTo>
                    <a:pt x="128" y="0"/>
                  </a:lnTo>
                  <a:lnTo>
                    <a:pt x="102" y="0"/>
                  </a:lnTo>
                  <a:lnTo>
                    <a:pt x="78" y="4"/>
                  </a:lnTo>
                  <a:lnTo>
                    <a:pt x="56" y="8"/>
                  </a:lnTo>
                  <a:lnTo>
                    <a:pt x="38" y="14"/>
                  </a:lnTo>
                  <a:lnTo>
                    <a:pt x="22" y="22"/>
                  </a:lnTo>
                  <a:lnTo>
                    <a:pt x="10" y="30"/>
                  </a:lnTo>
                  <a:lnTo>
                    <a:pt x="2" y="38"/>
                  </a:lnTo>
                  <a:lnTo>
                    <a:pt x="0" y="44"/>
                  </a:lnTo>
                  <a:lnTo>
                    <a:pt x="0" y="48"/>
                  </a:lnTo>
                  <a:lnTo>
                    <a:pt x="0" y="128"/>
                  </a:lnTo>
                  <a:lnTo>
                    <a:pt x="0" y="128"/>
                  </a:lnTo>
                  <a:lnTo>
                    <a:pt x="0" y="132"/>
                  </a:lnTo>
                  <a:lnTo>
                    <a:pt x="2" y="138"/>
                  </a:lnTo>
                  <a:lnTo>
                    <a:pt x="10" y="146"/>
                  </a:lnTo>
                  <a:lnTo>
                    <a:pt x="22" y="154"/>
                  </a:lnTo>
                  <a:lnTo>
                    <a:pt x="38" y="162"/>
                  </a:lnTo>
                  <a:lnTo>
                    <a:pt x="56" y="168"/>
                  </a:lnTo>
                  <a:lnTo>
                    <a:pt x="78" y="172"/>
                  </a:lnTo>
                  <a:lnTo>
                    <a:pt x="102" y="176"/>
                  </a:lnTo>
                  <a:lnTo>
                    <a:pt x="128" y="176"/>
                  </a:lnTo>
                  <a:lnTo>
                    <a:pt x="128" y="176"/>
                  </a:lnTo>
                  <a:lnTo>
                    <a:pt x="136" y="176"/>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40" name="Freeform 35">
              <a:extLst>
                <a:ext uri="{FF2B5EF4-FFF2-40B4-BE49-F238E27FC236}">
                  <a16:creationId xmlns:a16="http://schemas.microsoft.com/office/drawing/2014/main" id="{90BD9017-AD6A-49AE-8351-E647A7AD2995}"/>
                </a:ext>
              </a:extLst>
            </p:cNvPr>
            <p:cNvSpPr>
              <a:spLocks/>
            </p:cNvSpPr>
            <p:nvPr/>
          </p:nvSpPr>
          <p:spPr bwMode="auto">
            <a:xfrm>
              <a:off x="6730988" y="1720850"/>
              <a:ext cx="406399" cy="76200"/>
            </a:xfrm>
            <a:custGeom>
              <a:avLst/>
              <a:gdLst>
                <a:gd name="T0" fmla="*/ 0 w 256"/>
                <a:gd name="T1" fmla="*/ 0 h 48"/>
                <a:gd name="T2" fmla="*/ 0 w 256"/>
                <a:gd name="T3" fmla="*/ 0 h 48"/>
                <a:gd name="T4" fmla="*/ 0 w 256"/>
                <a:gd name="T5" fmla="*/ 4 h 48"/>
                <a:gd name="T6" fmla="*/ 2 w 256"/>
                <a:gd name="T7" fmla="*/ 10 h 48"/>
                <a:gd name="T8" fmla="*/ 10 w 256"/>
                <a:gd name="T9" fmla="*/ 18 h 48"/>
                <a:gd name="T10" fmla="*/ 22 w 256"/>
                <a:gd name="T11" fmla="*/ 26 h 48"/>
                <a:gd name="T12" fmla="*/ 38 w 256"/>
                <a:gd name="T13" fmla="*/ 34 h 48"/>
                <a:gd name="T14" fmla="*/ 56 w 256"/>
                <a:gd name="T15" fmla="*/ 40 h 48"/>
                <a:gd name="T16" fmla="*/ 78 w 256"/>
                <a:gd name="T17" fmla="*/ 44 h 48"/>
                <a:gd name="T18" fmla="*/ 102 w 256"/>
                <a:gd name="T19" fmla="*/ 48 h 48"/>
                <a:gd name="T20" fmla="*/ 128 w 256"/>
                <a:gd name="T21" fmla="*/ 48 h 48"/>
                <a:gd name="T22" fmla="*/ 128 w 256"/>
                <a:gd name="T23" fmla="*/ 48 h 48"/>
                <a:gd name="T24" fmla="*/ 154 w 256"/>
                <a:gd name="T25" fmla="*/ 48 h 48"/>
                <a:gd name="T26" fmla="*/ 178 w 256"/>
                <a:gd name="T27" fmla="*/ 44 h 48"/>
                <a:gd name="T28" fmla="*/ 200 w 256"/>
                <a:gd name="T29" fmla="*/ 40 h 48"/>
                <a:gd name="T30" fmla="*/ 218 w 256"/>
                <a:gd name="T31" fmla="*/ 34 h 48"/>
                <a:gd name="T32" fmla="*/ 234 w 256"/>
                <a:gd name="T33" fmla="*/ 26 h 48"/>
                <a:gd name="T34" fmla="*/ 246 w 256"/>
                <a:gd name="T35" fmla="*/ 18 h 48"/>
                <a:gd name="T36" fmla="*/ 254 w 256"/>
                <a:gd name="T37" fmla="*/ 10 h 48"/>
                <a:gd name="T38" fmla="*/ 256 w 256"/>
                <a:gd name="T39" fmla="*/ 4 h 48"/>
                <a:gd name="T40" fmla="*/ 256 w 256"/>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8">
                  <a:moveTo>
                    <a:pt x="0" y="0"/>
                  </a:moveTo>
                  <a:lnTo>
                    <a:pt x="0" y="0"/>
                  </a:lnTo>
                  <a:lnTo>
                    <a:pt x="0" y="4"/>
                  </a:lnTo>
                  <a:lnTo>
                    <a:pt x="2" y="10"/>
                  </a:lnTo>
                  <a:lnTo>
                    <a:pt x="10" y="18"/>
                  </a:lnTo>
                  <a:lnTo>
                    <a:pt x="22" y="26"/>
                  </a:lnTo>
                  <a:lnTo>
                    <a:pt x="38" y="34"/>
                  </a:lnTo>
                  <a:lnTo>
                    <a:pt x="56" y="40"/>
                  </a:lnTo>
                  <a:lnTo>
                    <a:pt x="78" y="44"/>
                  </a:lnTo>
                  <a:lnTo>
                    <a:pt x="102" y="48"/>
                  </a:lnTo>
                  <a:lnTo>
                    <a:pt x="128" y="48"/>
                  </a:lnTo>
                  <a:lnTo>
                    <a:pt x="128" y="48"/>
                  </a:lnTo>
                  <a:lnTo>
                    <a:pt x="154" y="48"/>
                  </a:lnTo>
                  <a:lnTo>
                    <a:pt x="178" y="44"/>
                  </a:lnTo>
                  <a:lnTo>
                    <a:pt x="200" y="40"/>
                  </a:lnTo>
                  <a:lnTo>
                    <a:pt x="218" y="34"/>
                  </a:lnTo>
                  <a:lnTo>
                    <a:pt x="234" y="26"/>
                  </a:lnTo>
                  <a:lnTo>
                    <a:pt x="246" y="18"/>
                  </a:lnTo>
                  <a:lnTo>
                    <a:pt x="254" y="10"/>
                  </a:lnTo>
                  <a:lnTo>
                    <a:pt x="256" y="4"/>
                  </a:lnTo>
                  <a:lnTo>
                    <a:pt x="256" y="0"/>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41" name="Freeform 36">
              <a:extLst>
                <a:ext uri="{FF2B5EF4-FFF2-40B4-BE49-F238E27FC236}">
                  <a16:creationId xmlns:a16="http://schemas.microsoft.com/office/drawing/2014/main" id="{7D006D79-DBAC-408D-9CB9-FFB609BCA058}"/>
                </a:ext>
              </a:extLst>
            </p:cNvPr>
            <p:cNvSpPr>
              <a:spLocks/>
            </p:cNvSpPr>
            <p:nvPr/>
          </p:nvSpPr>
          <p:spPr bwMode="auto">
            <a:xfrm>
              <a:off x="6730988" y="1860550"/>
              <a:ext cx="190499" cy="190500"/>
            </a:xfrm>
            <a:custGeom>
              <a:avLst/>
              <a:gdLst>
                <a:gd name="T0" fmla="*/ 0 w 120"/>
                <a:gd name="T1" fmla="*/ 0 h 120"/>
                <a:gd name="T2" fmla="*/ 0 w 120"/>
                <a:gd name="T3" fmla="*/ 72 h 120"/>
                <a:gd name="T4" fmla="*/ 0 w 120"/>
                <a:gd name="T5" fmla="*/ 72 h 120"/>
                <a:gd name="T6" fmla="*/ 2 w 120"/>
                <a:gd name="T7" fmla="*/ 82 h 120"/>
                <a:gd name="T8" fmla="*/ 10 w 120"/>
                <a:gd name="T9" fmla="*/ 90 h 120"/>
                <a:gd name="T10" fmla="*/ 20 w 120"/>
                <a:gd name="T11" fmla="*/ 98 h 120"/>
                <a:gd name="T12" fmla="*/ 34 w 120"/>
                <a:gd name="T13" fmla="*/ 104 h 120"/>
                <a:gd name="T14" fmla="*/ 52 w 120"/>
                <a:gd name="T15" fmla="*/ 110 h 120"/>
                <a:gd name="T16" fmla="*/ 72 w 120"/>
                <a:gd name="T17" fmla="*/ 116 h 120"/>
                <a:gd name="T18" fmla="*/ 96 w 120"/>
                <a:gd name="T19" fmla="*/ 118 h 120"/>
                <a:gd name="T20" fmla="*/ 120 w 120"/>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20">
                  <a:moveTo>
                    <a:pt x="0" y="0"/>
                  </a:moveTo>
                  <a:lnTo>
                    <a:pt x="0" y="72"/>
                  </a:lnTo>
                  <a:lnTo>
                    <a:pt x="0" y="72"/>
                  </a:lnTo>
                  <a:lnTo>
                    <a:pt x="2" y="82"/>
                  </a:lnTo>
                  <a:lnTo>
                    <a:pt x="10" y="90"/>
                  </a:lnTo>
                  <a:lnTo>
                    <a:pt x="20" y="98"/>
                  </a:lnTo>
                  <a:lnTo>
                    <a:pt x="34" y="104"/>
                  </a:lnTo>
                  <a:lnTo>
                    <a:pt x="52" y="110"/>
                  </a:lnTo>
                  <a:lnTo>
                    <a:pt x="72" y="116"/>
                  </a:lnTo>
                  <a:lnTo>
                    <a:pt x="96" y="118"/>
                  </a:lnTo>
                  <a:lnTo>
                    <a:pt x="120" y="120"/>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42" name="Freeform 37">
              <a:extLst>
                <a:ext uri="{FF2B5EF4-FFF2-40B4-BE49-F238E27FC236}">
                  <a16:creationId xmlns:a16="http://schemas.microsoft.com/office/drawing/2014/main" id="{8026868B-BCDC-40EE-ACE7-E46C801EBDB6}"/>
                </a:ext>
              </a:extLst>
            </p:cNvPr>
            <p:cNvSpPr>
              <a:spLocks/>
            </p:cNvSpPr>
            <p:nvPr/>
          </p:nvSpPr>
          <p:spPr bwMode="auto">
            <a:xfrm>
              <a:off x="6730982" y="1987550"/>
              <a:ext cx="253999" cy="190500"/>
            </a:xfrm>
            <a:custGeom>
              <a:avLst/>
              <a:gdLst>
                <a:gd name="T0" fmla="*/ 0 w 160"/>
                <a:gd name="T1" fmla="*/ 0 h 120"/>
                <a:gd name="T2" fmla="*/ 0 w 160"/>
                <a:gd name="T3" fmla="*/ 72 h 120"/>
                <a:gd name="T4" fmla="*/ 0 w 160"/>
                <a:gd name="T5" fmla="*/ 72 h 120"/>
                <a:gd name="T6" fmla="*/ 0 w 160"/>
                <a:gd name="T7" fmla="*/ 76 h 120"/>
                <a:gd name="T8" fmla="*/ 2 w 160"/>
                <a:gd name="T9" fmla="*/ 82 h 120"/>
                <a:gd name="T10" fmla="*/ 10 w 160"/>
                <a:gd name="T11" fmla="*/ 90 h 120"/>
                <a:gd name="T12" fmla="*/ 22 w 160"/>
                <a:gd name="T13" fmla="*/ 98 h 120"/>
                <a:gd name="T14" fmla="*/ 38 w 160"/>
                <a:gd name="T15" fmla="*/ 106 h 120"/>
                <a:gd name="T16" fmla="*/ 56 w 160"/>
                <a:gd name="T17" fmla="*/ 112 h 120"/>
                <a:gd name="T18" fmla="*/ 78 w 160"/>
                <a:gd name="T19" fmla="*/ 116 h 120"/>
                <a:gd name="T20" fmla="*/ 102 w 160"/>
                <a:gd name="T21" fmla="*/ 120 h 120"/>
                <a:gd name="T22" fmla="*/ 128 w 160"/>
                <a:gd name="T23" fmla="*/ 120 h 120"/>
                <a:gd name="T24" fmla="*/ 128 w 160"/>
                <a:gd name="T25" fmla="*/ 120 h 120"/>
                <a:gd name="T26" fmla="*/ 160 w 160"/>
                <a:gd name="T27"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20">
                  <a:moveTo>
                    <a:pt x="0" y="0"/>
                  </a:moveTo>
                  <a:lnTo>
                    <a:pt x="0" y="72"/>
                  </a:lnTo>
                  <a:lnTo>
                    <a:pt x="0" y="72"/>
                  </a:lnTo>
                  <a:lnTo>
                    <a:pt x="0" y="76"/>
                  </a:lnTo>
                  <a:lnTo>
                    <a:pt x="2" y="82"/>
                  </a:lnTo>
                  <a:lnTo>
                    <a:pt x="10" y="90"/>
                  </a:lnTo>
                  <a:lnTo>
                    <a:pt x="22" y="98"/>
                  </a:lnTo>
                  <a:lnTo>
                    <a:pt x="38" y="106"/>
                  </a:lnTo>
                  <a:lnTo>
                    <a:pt x="56" y="112"/>
                  </a:lnTo>
                  <a:lnTo>
                    <a:pt x="78" y="116"/>
                  </a:lnTo>
                  <a:lnTo>
                    <a:pt x="102" y="120"/>
                  </a:lnTo>
                  <a:lnTo>
                    <a:pt x="128" y="120"/>
                  </a:lnTo>
                  <a:lnTo>
                    <a:pt x="128" y="120"/>
                  </a:lnTo>
                  <a:lnTo>
                    <a:pt x="160" y="118"/>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43" name="Freeform 38">
              <a:extLst>
                <a:ext uri="{FF2B5EF4-FFF2-40B4-BE49-F238E27FC236}">
                  <a16:creationId xmlns:a16="http://schemas.microsoft.com/office/drawing/2014/main" id="{FF11C4A3-C876-4DF2-A22E-31F81C9DA93E}"/>
                </a:ext>
              </a:extLst>
            </p:cNvPr>
            <p:cNvSpPr>
              <a:spLocks/>
            </p:cNvSpPr>
            <p:nvPr/>
          </p:nvSpPr>
          <p:spPr bwMode="auto">
            <a:xfrm>
              <a:off x="6950056" y="1870075"/>
              <a:ext cx="317499" cy="317500"/>
            </a:xfrm>
            <a:custGeom>
              <a:avLst/>
              <a:gdLst>
                <a:gd name="T0" fmla="*/ 200 w 200"/>
                <a:gd name="T1" fmla="*/ 76 h 200"/>
                <a:gd name="T2" fmla="*/ 188 w 200"/>
                <a:gd name="T3" fmla="*/ 44 h 200"/>
                <a:gd name="T4" fmla="*/ 168 w 200"/>
                <a:gd name="T5" fmla="*/ 52 h 200"/>
                <a:gd name="T6" fmla="*/ 168 w 200"/>
                <a:gd name="T7" fmla="*/ 52 h 200"/>
                <a:gd name="T8" fmla="*/ 158 w 200"/>
                <a:gd name="T9" fmla="*/ 40 h 200"/>
                <a:gd name="T10" fmla="*/ 148 w 200"/>
                <a:gd name="T11" fmla="*/ 32 h 200"/>
                <a:gd name="T12" fmla="*/ 154 w 200"/>
                <a:gd name="T13" fmla="*/ 12 h 200"/>
                <a:gd name="T14" fmla="*/ 124 w 200"/>
                <a:gd name="T15" fmla="*/ 0 h 200"/>
                <a:gd name="T16" fmla="*/ 114 w 200"/>
                <a:gd name="T17" fmla="*/ 18 h 200"/>
                <a:gd name="T18" fmla="*/ 114 w 200"/>
                <a:gd name="T19" fmla="*/ 18 h 200"/>
                <a:gd name="T20" fmla="*/ 100 w 200"/>
                <a:gd name="T21" fmla="*/ 16 h 200"/>
                <a:gd name="T22" fmla="*/ 86 w 200"/>
                <a:gd name="T23" fmla="*/ 18 h 200"/>
                <a:gd name="T24" fmla="*/ 78 w 200"/>
                <a:gd name="T25" fmla="*/ 0 h 200"/>
                <a:gd name="T26" fmla="*/ 46 w 200"/>
                <a:gd name="T27" fmla="*/ 12 h 200"/>
                <a:gd name="T28" fmla="*/ 52 w 200"/>
                <a:gd name="T29" fmla="*/ 32 h 200"/>
                <a:gd name="T30" fmla="*/ 52 w 200"/>
                <a:gd name="T31" fmla="*/ 32 h 200"/>
                <a:gd name="T32" fmla="*/ 42 w 200"/>
                <a:gd name="T33" fmla="*/ 42 h 200"/>
                <a:gd name="T34" fmla="*/ 34 w 200"/>
                <a:gd name="T35" fmla="*/ 52 h 200"/>
                <a:gd name="T36" fmla="*/ 14 w 200"/>
                <a:gd name="T37" fmla="*/ 46 h 200"/>
                <a:gd name="T38" fmla="*/ 0 w 200"/>
                <a:gd name="T39" fmla="*/ 76 h 200"/>
                <a:gd name="T40" fmla="*/ 18 w 200"/>
                <a:gd name="T41" fmla="*/ 86 h 200"/>
                <a:gd name="T42" fmla="*/ 18 w 200"/>
                <a:gd name="T43" fmla="*/ 86 h 200"/>
                <a:gd name="T44" fmla="*/ 18 w 200"/>
                <a:gd name="T45" fmla="*/ 100 h 200"/>
                <a:gd name="T46" fmla="*/ 18 w 200"/>
                <a:gd name="T47" fmla="*/ 114 h 200"/>
                <a:gd name="T48" fmla="*/ 0 w 200"/>
                <a:gd name="T49" fmla="*/ 122 h 200"/>
                <a:gd name="T50" fmla="*/ 14 w 200"/>
                <a:gd name="T51" fmla="*/ 154 h 200"/>
                <a:gd name="T52" fmla="*/ 34 w 200"/>
                <a:gd name="T53" fmla="*/ 148 h 200"/>
                <a:gd name="T54" fmla="*/ 34 w 200"/>
                <a:gd name="T55" fmla="*/ 148 h 200"/>
                <a:gd name="T56" fmla="*/ 42 w 200"/>
                <a:gd name="T57" fmla="*/ 158 h 200"/>
                <a:gd name="T58" fmla="*/ 52 w 200"/>
                <a:gd name="T59" fmla="*/ 166 h 200"/>
                <a:gd name="T60" fmla="*/ 46 w 200"/>
                <a:gd name="T61" fmla="*/ 186 h 200"/>
                <a:gd name="T62" fmla="*/ 78 w 200"/>
                <a:gd name="T63" fmla="*/ 200 h 200"/>
                <a:gd name="T64" fmla="*/ 88 w 200"/>
                <a:gd name="T65" fmla="*/ 182 h 200"/>
                <a:gd name="T66" fmla="*/ 88 w 200"/>
                <a:gd name="T67" fmla="*/ 182 h 200"/>
                <a:gd name="T68" fmla="*/ 100 w 200"/>
                <a:gd name="T69" fmla="*/ 182 h 200"/>
                <a:gd name="T70" fmla="*/ 114 w 200"/>
                <a:gd name="T71" fmla="*/ 182 h 200"/>
                <a:gd name="T72" fmla="*/ 124 w 200"/>
                <a:gd name="T73" fmla="*/ 200 h 200"/>
                <a:gd name="T74" fmla="*/ 156 w 200"/>
                <a:gd name="T75" fmla="*/ 186 h 200"/>
                <a:gd name="T76" fmla="*/ 148 w 200"/>
                <a:gd name="T77" fmla="*/ 166 h 200"/>
                <a:gd name="T78" fmla="*/ 148 w 200"/>
                <a:gd name="T79" fmla="*/ 166 h 200"/>
                <a:gd name="T80" fmla="*/ 160 w 200"/>
                <a:gd name="T81" fmla="*/ 158 h 200"/>
                <a:gd name="T82" fmla="*/ 168 w 200"/>
                <a:gd name="T83" fmla="*/ 148 h 200"/>
                <a:gd name="T84" fmla="*/ 188 w 200"/>
                <a:gd name="T85" fmla="*/ 154 h 200"/>
                <a:gd name="T86" fmla="*/ 200 w 200"/>
                <a:gd name="T87" fmla="*/ 122 h 200"/>
                <a:gd name="T88" fmla="*/ 182 w 200"/>
                <a:gd name="T89" fmla="*/ 112 h 200"/>
                <a:gd name="T90" fmla="*/ 182 w 200"/>
                <a:gd name="T91" fmla="*/ 112 h 200"/>
                <a:gd name="T92" fmla="*/ 184 w 200"/>
                <a:gd name="T93" fmla="*/ 100 h 200"/>
                <a:gd name="T94" fmla="*/ 182 w 200"/>
                <a:gd name="T95" fmla="*/ 86 h 200"/>
                <a:gd name="T96" fmla="*/ 200 w 200"/>
                <a:gd name="T97" fmla="*/ 7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 h="200">
                  <a:moveTo>
                    <a:pt x="200" y="76"/>
                  </a:moveTo>
                  <a:lnTo>
                    <a:pt x="188" y="44"/>
                  </a:lnTo>
                  <a:lnTo>
                    <a:pt x="168" y="52"/>
                  </a:lnTo>
                  <a:lnTo>
                    <a:pt x="168" y="52"/>
                  </a:lnTo>
                  <a:lnTo>
                    <a:pt x="158" y="40"/>
                  </a:lnTo>
                  <a:lnTo>
                    <a:pt x="148" y="32"/>
                  </a:lnTo>
                  <a:lnTo>
                    <a:pt x="154" y="12"/>
                  </a:lnTo>
                  <a:lnTo>
                    <a:pt x="124" y="0"/>
                  </a:lnTo>
                  <a:lnTo>
                    <a:pt x="114" y="18"/>
                  </a:lnTo>
                  <a:lnTo>
                    <a:pt x="114" y="18"/>
                  </a:lnTo>
                  <a:lnTo>
                    <a:pt x="100" y="16"/>
                  </a:lnTo>
                  <a:lnTo>
                    <a:pt x="86" y="18"/>
                  </a:lnTo>
                  <a:lnTo>
                    <a:pt x="78" y="0"/>
                  </a:lnTo>
                  <a:lnTo>
                    <a:pt x="46" y="12"/>
                  </a:lnTo>
                  <a:lnTo>
                    <a:pt x="52" y="32"/>
                  </a:lnTo>
                  <a:lnTo>
                    <a:pt x="52" y="32"/>
                  </a:lnTo>
                  <a:lnTo>
                    <a:pt x="42" y="42"/>
                  </a:lnTo>
                  <a:lnTo>
                    <a:pt x="34" y="52"/>
                  </a:lnTo>
                  <a:lnTo>
                    <a:pt x="14" y="46"/>
                  </a:lnTo>
                  <a:lnTo>
                    <a:pt x="0" y="76"/>
                  </a:lnTo>
                  <a:lnTo>
                    <a:pt x="18" y="86"/>
                  </a:lnTo>
                  <a:lnTo>
                    <a:pt x="18" y="86"/>
                  </a:lnTo>
                  <a:lnTo>
                    <a:pt x="18" y="100"/>
                  </a:lnTo>
                  <a:lnTo>
                    <a:pt x="18" y="114"/>
                  </a:lnTo>
                  <a:lnTo>
                    <a:pt x="0" y="122"/>
                  </a:lnTo>
                  <a:lnTo>
                    <a:pt x="14" y="154"/>
                  </a:lnTo>
                  <a:lnTo>
                    <a:pt x="34" y="148"/>
                  </a:lnTo>
                  <a:lnTo>
                    <a:pt x="34" y="148"/>
                  </a:lnTo>
                  <a:lnTo>
                    <a:pt x="42" y="158"/>
                  </a:lnTo>
                  <a:lnTo>
                    <a:pt x="52" y="166"/>
                  </a:lnTo>
                  <a:lnTo>
                    <a:pt x="46" y="186"/>
                  </a:lnTo>
                  <a:lnTo>
                    <a:pt x="78" y="200"/>
                  </a:lnTo>
                  <a:lnTo>
                    <a:pt x="88" y="182"/>
                  </a:lnTo>
                  <a:lnTo>
                    <a:pt x="88" y="182"/>
                  </a:lnTo>
                  <a:lnTo>
                    <a:pt x="100" y="182"/>
                  </a:lnTo>
                  <a:lnTo>
                    <a:pt x="114" y="182"/>
                  </a:lnTo>
                  <a:lnTo>
                    <a:pt x="124" y="200"/>
                  </a:lnTo>
                  <a:lnTo>
                    <a:pt x="156" y="186"/>
                  </a:lnTo>
                  <a:lnTo>
                    <a:pt x="148" y="166"/>
                  </a:lnTo>
                  <a:lnTo>
                    <a:pt x="148" y="166"/>
                  </a:lnTo>
                  <a:lnTo>
                    <a:pt x="160" y="158"/>
                  </a:lnTo>
                  <a:lnTo>
                    <a:pt x="168" y="148"/>
                  </a:lnTo>
                  <a:lnTo>
                    <a:pt x="188" y="154"/>
                  </a:lnTo>
                  <a:lnTo>
                    <a:pt x="200" y="122"/>
                  </a:lnTo>
                  <a:lnTo>
                    <a:pt x="182" y="112"/>
                  </a:lnTo>
                  <a:lnTo>
                    <a:pt x="182" y="112"/>
                  </a:lnTo>
                  <a:lnTo>
                    <a:pt x="184" y="100"/>
                  </a:lnTo>
                  <a:lnTo>
                    <a:pt x="182" y="86"/>
                  </a:lnTo>
                  <a:lnTo>
                    <a:pt x="200" y="76"/>
                  </a:lnTo>
                  <a:close/>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sp>
          <p:nvSpPr>
            <p:cNvPr id="144" name="Freeform 39">
              <a:extLst>
                <a:ext uri="{FF2B5EF4-FFF2-40B4-BE49-F238E27FC236}">
                  <a16:creationId xmlns:a16="http://schemas.microsoft.com/office/drawing/2014/main" id="{29692218-E39E-4DCF-9500-BDC55CEF6B40}"/>
                </a:ext>
              </a:extLst>
            </p:cNvPr>
            <p:cNvSpPr>
              <a:spLocks/>
            </p:cNvSpPr>
            <p:nvPr/>
          </p:nvSpPr>
          <p:spPr bwMode="auto">
            <a:xfrm>
              <a:off x="7048500" y="1962150"/>
              <a:ext cx="127000" cy="127000"/>
            </a:xfrm>
            <a:custGeom>
              <a:avLst/>
              <a:gdLst>
                <a:gd name="T0" fmla="*/ 80 w 80"/>
                <a:gd name="T1" fmla="*/ 40 h 80"/>
                <a:gd name="T2" fmla="*/ 80 w 80"/>
                <a:gd name="T3" fmla="*/ 40 h 80"/>
                <a:gd name="T4" fmla="*/ 80 w 80"/>
                <a:gd name="T5" fmla="*/ 48 h 80"/>
                <a:gd name="T6" fmla="*/ 76 w 80"/>
                <a:gd name="T7" fmla="*/ 56 h 80"/>
                <a:gd name="T8" fmla="*/ 74 w 80"/>
                <a:gd name="T9" fmla="*/ 62 h 80"/>
                <a:gd name="T10" fmla="*/ 68 w 80"/>
                <a:gd name="T11" fmla="*/ 68 h 80"/>
                <a:gd name="T12" fmla="*/ 62 w 80"/>
                <a:gd name="T13" fmla="*/ 74 h 80"/>
                <a:gd name="T14" fmla="*/ 56 w 80"/>
                <a:gd name="T15" fmla="*/ 76 h 80"/>
                <a:gd name="T16" fmla="*/ 48 w 80"/>
                <a:gd name="T17" fmla="*/ 80 h 80"/>
                <a:gd name="T18" fmla="*/ 40 w 80"/>
                <a:gd name="T19" fmla="*/ 80 h 80"/>
                <a:gd name="T20" fmla="*/ 40 w 80"/>
                <a:gd name="T21" fmla="*/ 80 h 80"/>
                <a:gd name="T22" fmla="*/ 32 w 80"/>
                <a:gd name="T23" fmla="*/ 80 h 80"/>
                <a:gd name="T24" fmla="*/ 24 w 80"/>
                <a:gd name="T25" fmla="*/ 76 h 80"/>
                <a:gd name="T26" fmla="*/ 18 w 80"/>
                <a:gd name="T27" fmla="*/ 74 h 80"/>
                <a:gd name="T28" fmla="*/ 12 w 80"/>
                <a:gd name="T29" fmla="*/ 68 h 80"/>
                <a:gd name="T30" fmla="*/ 6 w 80"/>
                <a:gd name="T31" fmla="*/ 62 h 80"/>
                <a:gd name="T32" fmla="*/ 4 w 80"/>
                <a:gd name="T33" fmla="*/ 56 h 80"/>
                <a:gd name="T34" fmla="*/ 0 w 80"/>
                <a:gd name="T35" fmla="*/ 48 h 80"/>
                <a:gd name="T36" fmla="*/ 0 w 80"/>
                <a:gd name="T37" fmla="*/ 40 h 80"/>
                <a:gd name="T38" fmla="*/ 0 w 80"/>
                <a:gd name="T39" fmla="*/ 40 h 80"/>
                <a:gd name="T40" fmla="*/ 0 w 80"/>
                <a:gd name="T41" fmla="*/ 32 h 80"/>
                <a:gd name="T42" fmla="*/ 4 w 80"/>
                <a:gd name="T43" fmla="*/ 24 h 80"/>
                <a:gd name="T44" fmla="*/ 6 w 80"/>
                <a:gd name="T45" fmla="*/ 18 h 80"/>
                <a:gd name="T46" fmla="*/ 12 w 80"/>
                <a:gd name="T47" fmla="*/ 12 h 80"/>
                <a:gd name="T48" fmla="*/ 18 w 80"/>
                <a:gd name="T49" fmla="*/ 6 h 80"/>
                <a:gd name="T50" fmla="*/ 24 w 80"/>
                <a:gd name="T51" fmla="*/ 4 h 80"/>
                <a:gd name="T52" fmla="*/ 32 w 80"/>
                <a:gd name="T53" fmla="*/ 0 h 80"/>
                <a:gd name="T54" fmla="*/ 40 w 80"/>
                <a:gd name="T55" fmla="*/ 0 h 80"/>
                <a:gd name="T56" fmla="*/ 40 w 80"/>
                <a:gd name="T57" fmla="*/ 0 h 80"/>
                <a:gd name="T58" fmla="*/ 48 w 80"/>
                <a:gd name="T59" fmla="*/ 0 h 80"/>
                <a:gd name="T60" fmla="*/ 56 w 80"/>
                <a:gd name="T61" fmla="*/ 4 h 80"/>
                <a:gd name="T62" fmla="*/ 62 w 80"/>
                <a:gd name="T63" fmla="*/ 6 h 80"/>
                <a:gd name="T64" fmla="*/ 68 w 80"/>
                <a:gd name="T65" fmla="*/ 12 h 80"/>
                <a:gd name="T66" fmla="*/ 74 w 80"/>
                <a:gd name="T67" fmla="*/ 18 h 80"/>
                <a:gd name="T68" fmla="*/ 76 w 80"/>
                <a:gd name="T69" fmla="*/ 24 h 80"/>
                <a:gd name="T70" fmla="*/ 80 w 80"/>
                <a:gd name="T71" fmla="*/ 32 h 80"/>
                <a:gd name="T72" fmla="*/ 80 w 80"/>
                <a:gd name="T73" fmla="*/ 40 h 80"/>
                <a:gd name="T74" fmla="*/ 80 w 80"/>
                <a:gd name="T75"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80" y="40"/>
                  </a:moveTo>
                  <a:lnTo>
                    <a:pt x="80" y="40"/>
                  </a:lnTo>
                  <a:lnTo>
                    <a:pt x="80" y="48"/>
                  </a:lnTo>
                  <a:lnTo>
                    <a:pt x="76" y="56"/>
                  </a:lnTo>
                  <a:lnTo>
                    <a:pt x="74" y="62"/>
                  </a:lnTo>
                  <a:lnTo>
                    <a:pt x="68" y="68"/>
                  </a:lnTo>
                  <a:lnTo>
                    <a:pt x="62" y="74"/>
                  </a:lnTo>
                  <a:lnTo>
                    <a:pt x="56" y="76"/>
                  </a:lnTo>
                  <a:lnTo>
                    <a:pt x="48" y="80"/>
                  </a:lnTo>
                  <a:lnTo>
                    <a:pt x="40" y="80"/>
                  </a:lnTo>
                  <a:lnTo>
                    <a:pt x="40" y="80"/>
                  </a:lnTo>
                  <a:lnTo>
                    <a:pt x="32" y="80"/>
                  </a:lnTo>
                  <a:lnTo>
                    <a:pt x="24" y="76"/>
                  </a:lnTo>
                  <a:lnTo>
                    <a:pt x="18" y="74"/>
                  </a:lnTo>
                  <a:lnTo>
                    <a:pt x="12" y="68"/>
                  </a:lnTo>
                  <a:lnTo>
                    <a:pt x="6" y="62"/>
                  </a:lnTo>
                  <a:lnTo>
                    <a:pt x="4" y="56"/>
                  </a:lnTo>
                  <a:lnTo>
                    <a:pt x="0" y="48"/>
                  </a:lnTo>
                  <a:lnTo>
                    <a:pt x="0" y="40"/>
                  </a:lnTo>
                  <a:lnTo>
                    <a:pt x="0" y="40"/>
                  </a:lnTo>
                  <a:lnTo>
                    <a:pt x="0" y="32"/>
                  </a:lnTo>
                  <a:lnTo>
                    <a:pt x="4" y="24"/>
                  </a:lnTo>
                  <a:lnTo>
                    <a:pt x="6" y="18"/>
                  </a:lnTo>
                  <a:lnTo>
                    <a:pt x="12" y="12"/>
                  </a:lnTo>
                  <a:lnTo>
                    <a:pt x="18" y="6"/>
                  </a:lnTo>
                  <a:lnTo>
                    <a:pt x="24" y="4"/>
                  </a:lnTo>
                  <a:lnTo>
                    <a:pt x="32" y="0"/>
                  </a:lnTo>
                  <a:lnTo>
                    <a:pt x="40" y="0"/>
                  </a:lnTo>
                  <a:lnTo>
                    <a:pt x="40" y="0"/>
                  </a:lnTo>
                  <a:lnTo>
                    <a:pt x="48" y="0"/>
                  </a:lnTo>
                  <a:lnTo>
                    <a:pt x="56" y="4"/>
                  </a:lnTo>
                  <a:lnTo>
                    <a:pt x="62" y="6"/>
                  </a:lnTo>
                  <a:lnTo>
                    <a:pt x="68" y="12"/>
                  </a:lnTo>
                  <a:lnTo>
                    <a:pt x="74" y="18"/>
                  </a:lnTo>
                  <a:lnTo>
                    <a:pt x="76" y="24"/>
                  </a:lnTo>
                  <a:lnTo>
                    <a:pt x="80" y="32"/>
                  </a:lnTo>
                  <a:lnTo>
                    <a:pt x="80" y="40"/>
                  </a:lnTo>
                  <a:lnTo>
                    <a:pt x="80" y="40"/>
                  </a:lnTo>
                  <a:close/>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b="1"/>
            </a:p>
          </p:txBody>
        </p:sp>
      </p:grpSp>
      <p:cxnSp>
        <p:nvCxnSpPr>
          <p:cNvPr id="160" name="Straight Connector 159">
            <a:extLst>
              <a:ext uri="{FF2B5EF4-FFF2-40B4-BE49-F238E27FC236}">
                <a16:creationId xmlns:a16="http://schemas.microsoft.com/office/drawing/2014/main" id="{9D0AC4E5-3310-49EE-BACE-3FBA9B56B9E1}"/>
              </a:ext>
            </a:extLst>
          </p:cNvPr>
          <p:cNvCxnSpPr>
            <a:cxnSpLocks/>
          </p:cNvCxnSpPr>
          <p:nvPr/>
        </p:nvCxnSpPr>
        <p:spPr>
          <a:xfrm>
            <a:off x="3323981" y="1361536"/>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3DC9A4C-39ED-4131-8E88-E4541CC8BCED}"/>
              </a:ext>
            </a:extLst>
          </p:cNvPr>
          <p:cNvSpPr>
            <a:spLocks noChangeArrowheads="1"/>
          </p:cNvSpPr>
          <p:nvPr/>
        </p:nvSpPr>
        <p:spPr bwMode="gray">
          <a:xfrm>
            <a:off x="4043192" y="5902546"/>
            <a:ext cx="1864678"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r>
              <a:rPr lang="en-US" sz="1400" b="1">
                <a:latin typeface="EYInterstate Light" panose="02000506000000020004" pitchFamily="2" charset="0"/>
                <a:sym typeface="EYInterstate Light" panose="02000506000000020004" pitchFamily="2" charset="0"/>
              </a:rPr>
              <a:t>Data Culture Change</a:t>
            </a:r>
          </a:p>
        </p:txBody>
      </p:sp>
      <p:grpSp>
        <p:nvGrpSpPr>
          <p:cNvPr id="269" name="Group 268">
            <a:extLst>
              <a:ext uri="{FF2B5EF4-FFF2-40B4-BE49-F238E27FC236}">
                <a16:creationId xmlns:a16="http://schemas.microsoft.com/office/drawing/2014/main" id="{2A8BC65D-DBC6-4B5D-9C83-B3F5ACC4DDAE}"/>
              </a:ext>
            </a:extLst>
          </p:cNvPr>
          <p:cNvGrpSpPr/>
          <p:nvPr/>
        </p:nvGrpSpPr>
        <p:grpSpPr>
          <a:xfrm>
            <a:off x="2879156" y="896087"/>
            <a:ext cx="291601" cy="5326241"/>
            <a:chOff x="2946846" y="803727"/>
            <a:chExt cx="291601" cy="5326241"/>
          </a:xfrm>
        </p:grpSpPr>
        <p:sp>
          <p:nvSpPr>
            <p:cNvPr id="153" name="Oval 152">
              <a:extLst>
                <a:ext uri="{FF2B5EF4-FFF2-40B4-BE49-F238E27FC236}">
                  <a16:creationId xmlns:a16="http://schemas.microsoft.com/office/drawing/2014/main" id="{EB0D1D8A-B1D7-4E31-AE15-C3DE3B96326D}"/>
                </a:ext>
              </a:extLst>
            </p:cNvPr>
            <p:cNvSpPr/>
            <p:nvPr/>
          </p:nvSpPr>
          <p:spPr>
            <a:xfrm>
              <a:off x="2946847" y="3184595"/>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b="1">
                  <a:solidFill>
                    <a:srgbClr val="0070C0"/>
                  </a:solidFill>
                  <a:latin typeface="Calibri" panose="020F0502020204030204"/>
                </a:rPr>
                <a:t>4</a:t>
              </a:r>
              <a:endParaRPr kumimoji="0" lang="de-DE" b="1" i="0"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5C9A3556-62E8-4DAB-946F-F1F5ACE6B438}"/>
                </a:ext>
              </a:extLst>
            </p:cNvPr>
            <p:cNvSpPr/>
            <p:nvPr/>
          </p:nvSpPr>
          <p:spPr>
            <a:xfrm>
              <a:off x="2946847" y="4953777"/>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0070C0"/>
                  </a:solidFill>
                  <a:effectLst/>
                  <a:uLnTx/>
                  <a:uFillTx/>
                  <a:latin typeface="Calibri" panose="020F0502020204030204"/>
                  <a:ea typeface="+mn-ea"/>
                  <a:cs typeface="+mn-cs"/>
                </a:rPr>
                <a:t>6</a:t>
              </a:r>
            </a:p>
          </p:txBody>
        </p:sp>
        <p:sp>
          <p:nvSpPr>
            <p:cNvPr id="150" name="Oval 149">
              <a:extLst>
                <a:ext uri="{FF2B5EF4-FFF2-40B4-BE49-F238E27FC236}">
                  <a16:creationId xmlns:a16="http://schemas.microsoft.com/office/drawing/2014/main" id="{E2682E33-65B2-42DF-980D-85D9CFA4A18C}"/>
                </a:ext>
              </a:extLst>
            </p:cNvPr>
            <p:cNvSpPr/>
            <p:nvPr/>
          </p:nvSpPr>
          <p:spPr>
            <a:xfrm>
              <a:off x="2946846" y="2360815"/>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0070C0"/>
                  </a:solidFill>
                  <a:effectLst/>
                  <a:uLnTx/>
                  <a:uFillTx/>
                  <a:latin typeface="Calibri" panose="020F0502020204030204"/>
                  <a:ea typeface="+mn-ea"/>
                  <a:cs typeface="+mn-cs"/>
                </a:rPr>
                <a:t>3</a:t>
              </a:r>
            </a:p>
          </p:txBody>
        </p:sp>
        <p:sp>
          <p:nvSpPr>
            <p:cNvPr id="151" name="Oval 150">
              <a:extLst>
                <a:ext uri="{FF2B5EF4-FFF2-40B4-BE49-F238E27FC236}">
                  <a16:creationId xmlns:a16="http://schemas.microsoft.com/office/drawing/2014/main" id="{39EA5E27-B063-4862-8A77-E69AB6CEA3DB}"/>
                </a:ext>
              </a:extLst>
            </p:cNvPr>
            <p:cNvSpPr/>
            <p:nvPr/>
          </p:nvSpPr>
          <p:spPr>
            <a:xfrm>
              <a:off x="2946847" y="4069186"/>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0070C0"/>
                  </a:solidFill>
                  <a:effectLst/>
                  <a:uLnTx/>
                  <a:uFillTx/>
                  <a:latin typeface="Calibri" panose="020F0502020204030204"/>
                  <a:ea typeface="+mn-ea"/>
                  <a:cs typeface="+mn-cs"/>
                </a:rPr>
                <a:t>5</a:t>
              </a:r>
            </a:p>
          </p:txBody>
        </p:sp>
        <p:sp>
          <p:nvSpPr>
            <p:cNvPr id="152" name="Oval 151">
              <a:extLst>
                <a:ext uri="{FF2B5EF4-FFF2-40B4-BE49-F238E27FC236}">
                  <a16:creationId xmlns:a16="http://schemas.microsoft.com/office/drawing/2014/main" id="{51D9D1B3-17DA-48A0-9948-177E2F1AF244}"/>
                </a:ext>
              </a:extLst>
            </p:cNvPr>
            <p:cNvSpPr/>
            <p:nvPr/>
          </p:nvSpPr>
          <p:spPr>
            <a:xfrm>
              <a:off x="2946846" y="1549622"/>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0070C0"/>
                  </a:solidFill>
                  <a:effectLst/>
                  <a:uLnTx/>
                  <a:uFillTx/>
                  <a:latin typeface="Calibri" panose="020F0502020204030204"/>
                  <a:ea typeface="+mn-ea"/>
                  <a:cs typeface="+mn-cs"/>
                </a:rPr>
                <a:t>2</a:t>
              </a:r>
            </a:p>
          </p:txBody>
        </p:sp>
        <p:sp>
          <p:nvSpPr>
            <p:cNvPr id="162" name="Oval 161">
              <a:extLst>
                <a:ext uri="{FF2B5EF4-FFF2-40B4-BE49-F238E27FC236}">
                  <a16:creationId xmlns:a16="http://schemas.microsoft.com/office/drawing/2014/main" id="{0FDA9707-AE00-4A00-BCAD-9D775A4DFF78}"/>
                </a:ext>
              </a:extLst>
            </p:cNvPr>
            <p:cNvSpPr/>
            <p:nvPr/>
          </p:nvSpPr>
          <p:spPr>
            <a:xfrm>
              <a:off x="2946846" y="803727"/>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0070C0"/>
                  </a:solidFill>
                  <a:effectLst/>
                  <a:uLnTx/>
                  <a:uFillTx/>
                  <a:latin typeface="Calibri" panose="020F0502020204030204"/>
                  <a:ea typeface="+mn-ea"/>
                  <a:cs typeface="+mn-cs"/>
                </a:rPr>
                <a:t>1</a:t>
              </a:r>
            </a:p>
          </p:txBody>
        </p:sp>
        <p:sp>
          <p:nvSpPr>
            <p:cNvPr id="175" name="Oval 174">
              <a:extLst>
                <a:ext uri="{FF2B5EF4-FFF2-40B4-BE49-F238E27FC236}">
                  <a16:creationId xmlns:a16="http://schemas.microsoft.com/office/drawing/2014/main" id="{CB168917-1BF7-46FB-9FCB-F52ACAFCC85B}"/>
                </a:ext>
              </a:extLst>
            </p:cNvPr>
            <p:cNvSpPr/>
            <p:nvPr/>
          </p:nvSpPr>
          <p:spPr>
            <a:xfrm>
              <a:off x="2946847" y="5838368"/>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noProof="0">
                  <a:ln>
                    <a:noFill/>
                  </a:ln>
                  <a:solidFill>
                    <a:srgbClr val="0070C0"/>
                  </a:solidFill>
                  <a:effectLst/>
                  <a:uLnTx/>
                  <a:uFillTx/>
                  <a:latin typeface="Calibri" panose="020F0502020204030204"/>
                  <a:ea typeface="+mn-ea"/>
                  <a:cs typeface="+mn-cs"/>
                </a:rPr>
                <a:t>7</a:t>
              </a:r>
            </a:p>
          </p:txBody>
        </p:sp>
      </p:grpSp>
      <p:sp>
        <p:nvSpPr>
          <p:cNvPr id="155" name="Rectangle 154">
            <a:extLst>
              <a:ext uri="{FF2B5EF4-FFF2-40B4-BE49-F238E27FC236}">
                <a16:creationId xmlns:a16="http://schemas.microsoft.com/office/drawing/2014/main" id="{2994E652-C04E-4545-A121-4FB8D01AAD9E}"/>
              </a:ext>
            </a:extLst>
          </p:cNvPr>
          <p:cNvSpPr>
            <a:spLocks noChangeArrowheads="1"/>
          </p:cNvSpPr>
          <p:nvPr/>
        </p:nvSpPr>
        <p:spPr bwMode="gray">
          <a:xfrm>
            <a:off x="4028432" y="90425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defTabSz="829275" eaLnBrk="0" fontAlgn="base" hangingPunct="0">
              <a:defRPr/>
            </a:pPr>
            <a:r>
              <a:rPr lang="en-US" sz="1400" b="1">
                <a:latin typeface="EYInterstate Light"/>
                <a:sym typeface="EYInterstate Light" panose="02000506000000020004" pitchFamily="2" charset="0"/>
              </a:rPr>
              <a:t>Data Strategy</a:t>
            </a:r>
          </a:p>
        </p:txBody>
      </p:sp>
      <p:grpSp>
        <p:nvGrpSpPr>
          <p:cNvPr id="220" name="Group 219">
            <a:extLst>
              <a:ext uri="{FF2B5EF4-FFF2-40B4-BE49-F238E27FC236}">
                <a16:creationId xmlns:a16="http://schemas.microsoft.com/office/drawing/2014/main" id="{FF553AB2-7A12-4240-8AFA-DCF12A775FE7}"/>
              </a:ext>
            </a:extLst>
          </p:cNvPr>
          <p:cNvGrpSpPr/>
          <p:nvPr/>
        </p:nvGrpSpPr>
        <p:grpSpPr>
          <a:xfrm>
            <a:off x="3319317" y="697423"/>
            <a:ext cx="477456" cy="573408"/>
            <a:chOff x="3930650" y="1047750"/>
            <a:chExt cx="647700" cy="800100"/>
          </a:xfrm>
          <a:solidFill>
            <a:srgbClr val="FFFFFF"/>
          </a:solidFill>
        </p:grpSpPr>
        <p:sp>
          <p:nvSpPr>
            <p:cNvPr id="221" name="Freeform 38">
              <a:extLst>
                <a:ext uri="{FF2B5EF4-FFF2-40B4-BE49-F238E27FC236}">
                  <a16:creationId xmlns:a16="http://schemas.microsoft.com/office/drawing/2014/main" id="{C87B839D-E5D5-485E-A110-8D24B03B1A3B}"/>
                </a:ext>
              </a:extLst>
            </p:cNvPr>
            <p:cNvSpPr>
              <a:spLocks/>
            </p:cNvSpPr>
            <p:nvPr/>
          </p:nvSpPr>
          <p:spPr bwMode="auto">
            <a:xfrm>
              <a:off x="4070350" y="1250950"/>
              <a:ext cx="381000" cy="381000"/>
            </a:xfrm>
            <a:custGeom>
              <a:avLst/>
              <a:gdLst>
                <a:gd name="T0" fmla="*/ 240 w 240"/>
                <a:gd name="T1" fmla="*/ 120 h 240"/>
                <a:gd name="T2" fmla="*/ 240 w 240"/>
                <a:gd name="T3" fmla="*/ 120 h 240"/>
                <a:gd name="T4" fmla="*/ 240 w 240"/>
                <a:gd name="T5" fmla="*/ 132 h 240"/>
                <a:gd name="T6" fmla="*/ 238 w 240"/>
                <a:gd name="T7" fmla="*/ 144 h 240"/>
                <a:gd name="T8" fmla="*/ 230 w 240"/>
                <a:gd name="T9" fmla="*/ 166 h 240"/>
                <a:gd name="T10" fmla="*/ 220 w 240"/>
                <a:gd name="T11" fmla="*/ 188 h 240"/>
                <a:gd name="T12" fmla="*/ 204 w 240"/>
                <a:gd name="T13" fmla="*/ 204 h 240"/>
                <a:gd name="T14" fmla="*/ 188 w 240"/>
                <a:gd name="T15" fmla="*/ 220 h 240"/>
                <a:gd name="T16" fmla="*/ 166 w 240"/>
                <a:gd name="T17" fmla="*/ 230 h 240"/>
                <a:gd name="T18" fmla="*/ 144 w 240"/>
                <a:gd name="T19" fmla="*/ 238 h 240"/>
                <a:gd name="T20" fmla="*/ 132 w 240"/>
                <a:gd name="T21" fmla="*/ 240 h 240"/>
                <a:gd name="T22" fmla="*/ 120 w 240"/>
                <a:gd name="T23" fmla="*/ 240 h 240"/>
                <a:gd name="T24" fmla="*/ 120 w 240"/>
                <a:gd name="T25" fmla="*/ 240 h 240"/>
                <a:gd name="T26" fmla="*/ 108 w 240"/>
                <a:gd name="T27" fmla="*/ 240 h 240"/>
                <a:gd name="T28" fmla="*/ 96 w 240"/>
                <a:gd name="T29" fmla="*/ 238 h 240"/>
                <a:gd name="T30" fmla="*/ 74 w 240"/>
                <a:gd name="T31" fmla="*/ 230 h 240"/>
                <a:gd name="T32" fmla="*/ 52 w 240"/>
                <a:gd name="T33" fmla="*/ 220 h 240"/>
                <a:gd name="T34" fmla="*/ 36 w 240"/>
                <a:gd name="T35" fmla="*/ 204 h 240"/>
                <a:gd name="T36" fmla="*/ 20 w 240"/>
                <a:gd name="T37" fmla="*/ 188 h 240"/>
                <a:gd name="T38" fmla="*/ 10 w 240"/>
                <a:gd name="T39" fmla="*/ 166 h 240"/>
                <a:gd name="T40" fmla="*/ 2 w 240"/>
                <a:gd name="T41" fmla="*/ 144 h 240"/>
                <a:gd name="T42" fmla="*/ 0 w 240"/>
                <a:gd name="T43" fmla="*/ 132 h 240"/>
                <a:gd name="T44" fmla="*/ 0 w 240"/>
                <a:gd name="T45" fmla="*/ 120 h 240"/>
                <a:gd name="T46" fmla="*/ 0 w 240"/>
                <a:gd name="T47" fmla="*/ 120 h 240"/>
                <a:gd name="T48" fmla="*/ 0 w 240"/>
                <a:gd name="T49" fmla="*/ 108 h 240"/>
                <a:gd name="T50" fmla="*/ 2 w 240"/>
                <a:gd name="T51" fmla="*/ 96 h 240"/>
                <a:gd name="T52" fmla="*/ 10 w 240"/>
                <a:gd name="T53" fmla="*/ 74 h 240"/>
                <a:gd name="T54" fmla="*/ 20 w 240"/>
                <a:gd name="T55" fmla="*/ 52 h 240"/>
                <a:gd name="T56" fmla="*/ 36 w 240"/>
                <a:gd name="T57" fmla="*/ 36 h 240"/>
                <a:gd name="T58" fmla="*/ 52 w 240"/>
                <a:gd name="T59" fmla="*/ 20 h 240"/>
                <a:gd name="T60" fmla="*/ 74 w 240"/>
                <a:gd name="T61" fmla="*/ 10 h 240"/>
                <a:gd name="T62" fmla="*/ 96 w 240"/>
                <a:gd name="T63" fmla="*/ 2 h 240"/>
                <a:gd name="T64" fmla="*/ 108 w 240"/>
                <a:gd name="T65" fmla="*/ 0 h 240"/>
                <a:gd name="T66" fmla="*/ 120 w 240"/>
                <a:gd name="T67" fmla="*/ 0 h 240"/>
                <a:gd name="T68" fmla="*/ 120 w 240"/>
                <a:gd name="T69" fmla="*/ 0 h 240"/>
                <a:gd name="T70" fmla="*/ 132 w 240"/>
                <a:gd name="T71" fmla="*/ 0 h 240"/>
                <a:gd name="T72" fmla="*/ 144 w 240"/>
                <a:gd name="T73" fmla="*/ 2 h 240"/>
                <a:gd name="T74" fmla="*/ 166 w 240"/>
                <a:gd name="T75" fmla="*/ 10 h 240"/>
                <a:gd name="T76" fmla="*/ 188 w 240"/>
                <a:gd name="T77" fmla="*/ 20 h 240"/>
                <a:gd name="T78" fmla="*/ 204 w 240"/>
                <a:gd name="T79" fmla="*/ 36 h 240"/>
                <a:gd name="T80" fmla="*/ 220 w 240"/>
                <a:gd name="T81" fmla="*/ 52 h 240"/>
                <a:gd name="T82" fmla="*/ 230 w 240"/>
                <a:gd name="T83" fmla="*/ 74 h 240"/>
                <a:gd name="T84" fmla="*/ 238 w 240"/>
                <a:gd name="T85" fmla="*/ 96 h 240"/>
                <a:gd name="T86" fmla="*/ 240 w 240"/>
                <a:gd name="T87" fmla="*/ 108 h 240"/>
                <a:gd name="T88" fmla="*/ 240 w 240"/>
                <a:gd name="T89" fmla="*/ 120 h 240"/>
                <a:gd name="T90" fmla="*/ 240 w 240"/>
                <a:gd name="T91" fmla="*/ 1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0" h="240">
                  <a:moveTo>
                    <a:pt x="240" y="120"/>
                  </a:moveTo>
                  <a:lnTo>
                    <a:pt x="240" y="120"/>
                  </a:lnTo>
                  <a:lnTo>
                    <a:pt x="240" y="132"/>
                  </a:lnTo>
                  <a:lnTo>
                    <a:pt x="238" y="144"/>
                  </a:lnTo>
                  <a:lnTo>
                    <a:pt x="230" y="166"/>
                  </a:lnTo>
                  <a:lnTo>
                    <a:pt x="220" y="188"/>
                  </a:lnTo>
                  <a:lnTo>
                    <a:pt x="204" y="204"/>
                  </a:lnTo>
                  <a:lnTo>
                    <a:pt x="188" y="220"/>
                  </a:lnTo>
                  <a:lnTo>
                    <a:pt x="166" y="230"/>
                  </a:lnTo>
                  <a:lnTo>
                    <a:pt x="144" y="238"/>
                  </a:lnTo>
                  <a:lnTo>
                    <a:pt x="132" y="240"/>
                  </a:lnTo>
                  <a:lnTo>
                    <a:pt x="120" y="240"/>
                  </a:lnTo>
                  <a:lnTo>
                    <a:pt x="120" y="240"/>
                  </a:lnTo>
                  <a:lnTo>
                    <a:pt x="108" y="240"/>
                  </a:lnTo>
                  <a:lnTo>
                    <a:pt x="96" y="238"/>
                  </a:lnTo>
                  <a:lnTo>
                    <a:pt x="74" y="230"/>
                  </a:lnTo>
                  <a:lnTo>
                    <a:pt x="52" y="220"/>
                  </a:lnTo>
                  <a:lnTo>
                    <a:pt x="36" y="204"/>
                  </a:lnTo>
                  <a:lnTo>
                    <a:pt x="20" y="188"/>
                  </a:lnTo>
                  <a:lnTo>
                    <a:pt x="10" y="166"/>
                  </a:lnTo>
                  <a:lnTo>
                    <a:pt x="2" y="144"/>
                  </a:lnTo>
                  <a:lnTo>
                    <a:pt x="0" y="132"/>
                  </a:lnTo>
                  <a:lnTo>
                    <a:pt x="0" y="120"/>
                  </a:lnTo>
                  <a:lnTo>
                    <a:pt x="0" y="120"/>
                  </a:lnTo>
                  <a:lnTo>
                    <a:pt x="0" y="108"/>
                  </a:lnTo>
                  <a:lnTo>
                    <a:pt x="2" y="96"/>
                  </a:lnTo>
                  <a:lnTo>
                    <a:pt x="10" y="74"/>
                  </a:lnTo>
                  <a:lnTo>
                    <a:pt x="20" y="52"/>
                  </a:lnTo>
                  <a:lnTo>
                    <a:pt x="36" y="36"/>
                  </a:lnTo>
                  <a:lnTo>
                    <a:pt x="52" y="20"/>
                  </a:lnTo>
                  <a:lnTo>
                    <a:pt x="74" y="10"/>
                  </a:lnTo>
                  <a:lnTo>
                    <a:pt x="96" y="2"/>
                  </a:lnTo>
                  <a:lnTo>
                    <a:pt x="108" y="0"/>
                  </a:lnTo>
                  <a:lnTo>
                    <a:pt x="120" y="0"/>
                  </a:lnTo>
                  <a:lnTo>
                    <a:pt x="120" y="0"/>
                  </a:lnTo>
                  <a:lnTo>
                    <a:pt x="132" y="0"/>
                  </a:lnTo>
                  <a:lnTo>
                    <a:pt x="144" y="2"/>
                  </a:lnTo>
                  <a:lnTo>
                    <a:pt x="166" y="10"/>
                  </a:lnTo>
                  <a:lnTo>
                    <a:pt x="188" y="20"/>
                  </a:lnTo>
                  <a:lnTo>
                    <a:pt x="204" y="36"/>
                  </a:lnTo>
                  <a:lnTo>
                    <a:pt x="220" y="52"/>
                  </a:lnTo>
                  <a:lnTo>
                    <a:pt x="230" y="74"/>
                  </a:lnTo>
                  <a:lnTo>
                    <a:pt x="238" y="96"/>
                  </a:lnTo>
                  <a:lnTo>
                    <a:pt x="240" y="108"/>
                  </a:lnTo>
                  <a:lnTo>
                    <a:pt x="240" y="120"/>
                  </a:lnTo>
                  <a:lnTo>
                    <a:pt x="240" y="12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2" name="Freeform 39">
              <a:extLst>
                <a:ext uri="{FF2B5EF4-FFF2-40B4-BE49-F238E27FC236}">
                  <a16:creationId xmlns:a16="http://schemas.microsoft.com/office/drawing/2014/main" id="{2416C0D3-4399-4AD5-BFE6-C11EB7E31CAE}"/>
                </a:ext>
              </a:extLst>
            </p:cNvPr>
            <p:cNvSpPr>
              <a:spLocks/>
            </p:cNvSpPr>
            <p:nvPr/>
          </p:nvSpPr>
          <p:spPr bwMode="auto">
            <a:xfrm>
              <a:off x="4375150" y="1301750"/>
              <a:ext cx="152400" cy="76200"/>
            </a:xfrm>
            <a:custGeom>
              <a:avLst/>
              <a:gdLst>
                <a:gd name="T0" fmla="*/ 96 w 96"/>
                <a:gd name="T1" fmla="*/ 0 h 48"/>
                <a:gd name="T2" fmla="*/ 48 w 96"/>
                <a:gd name="T3" fmla="*/ 0 h 48"/>
                <a:gd name="T4" fmla="*/ 16 w 96"/>
                <a:gd name="T5" fmla="*/ 48 h 48"/>
                <a:gd name="T6" fmla="*/ 0 w 96"/>
                <a:gd name="T7" fmla="*/ 48 h 48"/>
              </a:gdLst>
              <a:ahLst/>
              <a:cxnLst>
                <a:cxn ang="0">
                  <a:pos x="T0" y="T1"/>
                </a:cxn>
                <a:cxn ang="0">
                  <a:pos x="T2" y="T3"/>
                </a:cxn>
                <a:cxn ang="0">
                  <a:pos x="T4" y="T5"/>
                </a:cxn>
                <a:cxn ang="0">
                  <a:pos x="T6" y="T7"/>
                </a:cxn>
              </a:cxnLst>
              <a:rect l="0" t="0" r="r" b="b"/>
              <a:pathLst>
                <a:path w="96" h="48">
                  <a:moveTo>
                    <a:pt x="96" y="0"/>
                  </a:moveTo>
                  <a:lnTo>
                    <a:pt x="48" y="0"/>
                  </a:lnTo>
                  <a:lnTo>
                    <a:pt x="16" y="48"/>
                  </a:lnTo>
                  <a:lnTo>
                    <a:pt x="0" y="48"/>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3" name="Line 40">
              <a:extLst>
                <a:ext uri="{FF2B5EF4-FFF2-40B4-BE49-F238E27FC236}">
                  <a16:creationId xmlns:a16="http://schemas.microsoft.com/office/drawing/2014/main" id="{474EF002-683E-46FF-ACED-5CAF06AD0A8F}"/>
                </a:ext>
              </a:extLst>
            </p:cNvPr>
            <p:cNvSpPr>
              <a:spLocks noChangeShapeType="1"/>
            </p:cNvSpPr>
            <p:nvPr/>
          </p:nvSpPr>
          <p:spPr bwMode="auto">
            <a:xfrm flipH="1">
              <a:off x="4400550" y="1441450"/>
              <a:ext cx="1397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4" name="Freeform 41">
              <a:extLst>
                <a:ext uri="{FF2B5EF4-FFF2-40B4-BE49-F238E27FC236}">
                  <a16:creationId xmlns:a16="http://schemas.microsoft.com/office/drawing/2014/main" id="{BDD5CB3F-217B-48C3-9EF8-787152680630}"/>
                </a:ext>
              </a:extLst>
            </p:cNvPr>
            <p:cNvSpPr>
              <a:spLocks/>
            </p:cNvSpPr>
            <p:nvPr/>
          </p:nvSpPr>
          <p:spPr bwMode="auto">
            <a:xfrm>
              <a:off x="4489450" y="12636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5" name="Freeform 42">
              <a:extLst>
                <a:ext uri="{FF2B5EF4-FFF2-40B4-BE49-F238E27FC236}">
                  <a16:creationId xmlns:a16="http://schemas.microsoft.com/office/drawing/2014/main" id="{15D267EF-2755-4CA7-B54F-D604788375C2}"/>
                </a:ext>
              </a:extLst>
            </p:cNvPr>
            <p:cNvSpPr>
              <a:spLocks/>
            </p:cNvSpPr>
            <p:nvPr/>
          </p:nvSpPr>
          <p:spPr bwMode="auto">
            <a:xfrm>
              <a:off x="4375150" y="1504950"/>
              <a:ext cx="152400" cy="76200"/>
            </a:xfrm>
            <a:custGeom>
              <a:avLst/>
              <a:gdLst>
                <a:gd name="T0" fmla="*/ 96 w 96"/>
                <a:gd name="T1" fmla="*/ 48 h 48"/>
                <a:gd name="T2" fmla="*/ 48 w 96"/>
                <a:gd name="T3" fmla="*/ 48 h 48"/>
                <a:gd name="T4" fmla="*/ 16 w 96"/>
                <a:gd name="T5" fmla="*/ 0 h 48"/>
                <a:gd name="T6" fmla="*/ 0 w 96"/>
                <a:gd name="T7" fmla="*/ 0 h 48"/>
              </a:gdLst>
              <a:ahLst/>
              <a:cxnLst>
                <a:cxn ang="0">
                  <a:pos x="T0" y="T1"/>
                </a:cxn>
                <a:cxn ang="0">
                  <a:pos x="T2" y="T3"/>
                </a:cxn>
                <a:cxn ang="0">
                  <a:pos x="T4" y="T5"/>
                </a:cxn>
                <a:cxn ang="0">
                  <a:pos x="T6" y="T7"/>
                </a:cxn>
              </a:cxnLst>
              <a:rect l="0" t="0" r="r" b="b"/>
              <a:pathLst>
                <a:path w="96" h="48">
                  <a:moveTo>
                    <a:pt x="96" y="48"/>
                  </a:moveTo>
                  <a:lnTo>
                    <a:pt x="48" y="48"/>
                  </a:lnTo>
                  <a:lnTo>
                    <a:pt x="16" y="0"/>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6" name="Freeform 43">
              <a:extLst>
                <a:ext uri="{FF2B5EF4-FFF2-40B4-BE49-F238E27FC236}">
                  <a16:creationId xmlns:a16="http://schemas.microsoft.com/office/drawing/2014/main" id="{ADBC23E5-6ECE-4D8D-8AD1-31833484775F}"/>
                </a:ext>
              </a:extLst>
            </p:cNvPr>
            <p:cNvSpPr>
              <a:spLocks/>
            </p:cNvSpPr>
            <p:nvPr/>
          </p:nvSpPr>
          <p:spPr bwMode="auto">
            <a:xfrm>
              <a:off x="4489450" y="1543050"/>
              <a:ext cx="76200" cy="76200"/>
            </a:xfrm>
            <a:custGeom>
              <a:avLst/>
              <a:gdLst>
                <a:gd name="T0" fmla="*/ 0 w 48"/>
                <a:gd name="T1" fmla="*/ 24 h 48"/>
                <a:gd name="T2" fmla="*/ 0 w 48"/>
                <a:gd name="T3" fmla="*/ 24 h 48"/>
                <a:gd name="T4" fmla="*/ 2 w 48"/>
                <a:gd name="T5" fmla="*/ 14 h 48"/>
                <a:gd name="T6" fmla="*/ 8 w 48"/>
                <a:gd name="T7" fmla="*/ 8 h 48"/>
                <a:gd name="T8" fmla="*/ 14 w 48"/>
                <a:gd name="T9" fmla="*/ 2 h 48"/>
                <a:gd name="T10" fmla="*/ 24 w 48"/>
                <a:gd name="T11" fmla="*/ 0 h 48"/>
                <a:gd name="T12" fmla="*/ 24 w 48"/>
                <a:gd name="T13" fmla="*/ 0 h 48"/>
                <a:gd name="T14" fmla="*/ 34 w 48"/>
                <a:gd name="T15" fmla="*/ 2 h 48"/>
                <a:gd name="T16" fmla="*/ 40 w 48"/>
                <a:gd name="T17" fmla="*/ 8 h 48"/>
                <a:gd name="T18" fmla="*/ 46 w 48"/>
                <a:gd name="T19" fmla="*/ 14 h 48"/>
                <a:gd name="T20" fmla="*/ 48 w 48"/>
                <a:gd name="T21" fmla="*/ 24 h 48"/>
                <a:gd name="T22" fmla="*/ 48 w 48"/>
                <a:gd name="T23" fmla="*/ 24 h 48"/>
                <a:gd name="T24" fmla="*/ 46 w 48"/>
                <a:gd name="T25" fmla="*/ 34 h 48"/>
                <a:gd name="T26" fmla="*/ 40 w 48"/>
                <a:gd name="T27" fmla="*/ 40 h 48"/>
                <a:gd name="T28" fmla="*/ 34 w 48"/>
                <a:gd name="T29" fmla="*/ 46 h 48"/>
                <a:gd name="T30" fmla="*/ 24 w 48"/>
                <a:gd name="T31" fmla="*/ 48 h 48"/>
                <a:gd name="T32" fmla="*/ 24 w 48"/>
                <a:gd name="T33" fmla="*/ 48 h 48"/>
                <a:gd name="T34" fmla="*/ 14 w 48"/>
                <a:gd name="T35" fmla="*/ 46 h 48"/>
                <a:gd name="T36" fmla="*/ 8 w 48"/>
                <a:gd name="T37" fmla="*/ 40 h 48"/>
                <a:gd name="T38" fmla="*/ 2 w 48"/>
                <a:gd name="T39" fmla="*/ 3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lnTo>
                    <a:pt x="14" y="46"/>
                  </a:lnTo>
                  <a:lnTo>
                    <a:pt x="8" y="40"/>
                  </a:lnTo>
                  <a:lnTo>
                    <a:pt x="2" y="3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7" name="Freeform 44">
              <a:extLst>
                <a:ext uri="{FF2B5EF4-FFF2-40B4-BE49-F238E27FC236}">
                  <a16:creationId xmlns:a16="http://schemas.microsoft.com/office/drawing/2014/main" id="{3CD783A9-45BE-4D6E-A73A-6390927272B6}"/>
                </a:ext>
              </a:extLst>
            </p:cNvPr>
            <p:cNvSpPr>
              <a:spLocks/>
            </p:cNvSpPr>
            <p:nvPr/>
          </p:nvSpPr>
          <p:spPr bwMode="auto">
            <a:xfrm>
              <a:off x="4502150" y="14033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8" name="Freeform 45">
              <a:extLst>
                <a:ext uri="{FF2B5EF4-FFF2-40B4-BE49-F238E27FC236}">
                  <a16:creationId xmlns:a16="http://schemas.microsoft.com/office/drawing/2014/main" id="{1641E89F-E217-41C7-A5BB-43C568160E16}"/>
                </a:ext>
              </a:extLst>
            </p:cNvPr>
            <p:cNvSpPr>
              <a:spLocks/>
            </p:cNvSpPr>
            <p:nvPr/>
          </p:nvSpPr>
          <p:spPr bwMode="auto">
            <a:xfrm>
              <a:off x="4324350" y="1568450"/>
              <a:ext cx="98425" cy="127000"/>
            </a:xfrm>
            <a:custGeom>
              <a:avLst/>
              <a:gdLst>
                <a:gd name="T0" fmla="*/ 62 w 62"/>
                <a:gd name="T1" fmla="*/ 80 h 80"/>
                <a:gd name="T2" fmla="*/ 8 w 62"/>
                <a:gd name="T3" fmla="*/ 0 h 80"/>
                <a:gd name="T4" fmla="*/ 0 w 62"/>
                <a:gd name="T5" fmla="*/ 0 h 80"/>
              </a:gdLst>
              <a:ahLst/>
              <a:cxnLst>
                <a:cxn ang="0">
                  <a:pos x="T0" y="T1"/>
                </a:cxn>
                <a:cxn ang="0">
                  <a:pos x="T2" y="T3"/>
                </a:cxn>
                <a:cxn ang="0">
                  <a:pos x="T4" y="T5"/>
                </a:cxn>
              </a:cxnLst>
              <a:rect l="0" t="0" r="r" b="b"/>
              <a:pathLst>
                <a:path w="62" h="80">
                  <a:moveTo>
                    <a:pt x="62" y="80"/>
                  </a:moveTo>
                  <a:lnTo>
                    <a:pt x="8" y="0"/>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9" name="Freeform 46">
              <a:extLst>
                <a:ext uri="{FF2B5EF4-FFF2-40B4-BE49-F238E27FC236}">
                  <a16:creationId xmlns:a16="http://schemas.microsoft.com/office/drawing/2014/main" id="{4D03485D-7E4E-4136-A9AE-04291368F640}"/>
                </a:ext>
              </a:extLst>
            </p:cNvPr>
            <p:cNvSpPr>
              <a:spLocks/>
            </p:cNvSpPr>
            <p:nvPr/>
          </p:nvSpPr>
          <p:spPr bwMode="auto">
            <a:xfrm>
              <a:off x="4387850" y="1657350"/>
              <a:ext cx="76200" cy="76200"/>
            </a:xfrm>
            <a:custGeom>
              <a:avLst/>
              <a:gdLst>
                <a:gd name="T0" fmla="*/ 0 w 48"/>
                <a:gd name="T1" fmla="*/ 24 h 48"/>
                <a:gd name="T2" fmla="*/ 0 w 48"/>
                <a:gd name="T3" fmla="*/ 24 h 48"/>
                <a:gd name="T4" fmla="*/ 2 w 48"/>
                <a:gd name="T5" fmla="*/ 14 h 48"/>
                <a:gd name="T6" fmla="*/ 8 w 48"/>
                <a:gd name="T7" fmla="*/ 8 h 48"/>
                <a:gd name="T8" fmla="*/ 14 w 48"/>
                <a:gd name="T9" fmla="*/ 2 h 48"/>
                <a:gd name="T10" fmla="*/ 24 w 48"/>
                <a:gd name="T11" fmla="*/ 0 h 48"/>
                <a:gd name="T12" fmla="*/ 24 w 48"/>
                <a:gd name="T13" fmla="*/ 0 h 48"/>
                <a:gd name="T14" fmla="*/ 34 w 48"/>
                <a:gd name="T15" fmla="*/ 2 h 48"/>
                <a:gd name="T16" fmla="*/ 40 w 48"/>
                <a:gd name="T17" fmla="*/ 8 h 48"/>
                <a:gd name="T18" fmla="*/ 46 w 48"/>
                <a:gd name="T19" fmla="*/ 14 h 48"/>
                <a:gd name="T20" fmla="*/ 48 w 48"/>
                <a:gd name="T21" fmla="*/ 24 h 48"/>
                <a:gd name="T22" fmla="*/ 48 w 48"/>
                <a:gd name="T23" fmla="*/ 24 h 48"/>
                <a:gd name="T24" fmla="*/ 46 w 48"/>
                <a:gd name="T25" fmla="*/ 34 h 48"/>
                <a:gd name="T26" fmla="*/ 40 w 48"/>
                <a:gd name="T27" fmla="*/ 40 h 48"/>
                <a:gd name="T28" fmla="*/ 34 w 48"/>
                <a:gd name="T29" fmla="*/ 46 h 48"/>
                <a:gd name="T30" fmla="*/ 24 w 48"/>
                <a:gd name="T31" fmla="*/ 48 h 48"/>
                <a:gd name="T32" fmla="*/ 24 w 48"/>
                <a:gd name="T33" fmla="*/ 48 h 48"/>
                <a:gd name="T34" fmla="*/ 14 w 48"/>
                <a:gd name="T35" fmla="*/ 46 h 48"/>
                <a:gd name="T36" fmla="*/ 8 w 48"/>
                <a:gd name="T37" fmla="*/ 40 h 48"/>
                <a:gd name="T38" fmla="*/ 2 w 48"/>
                <a:gd name="T39" fmla="*/ 3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lnTo>
                    <a:pt x="14" y="46"/>
                  </a:lnTo>
                  <a:lnTo>
                    <a:pt x="8" y="40"/>
                  </a:lnTo>
                  <a:lnTo>
                    <a:pt x="2" y="3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0" name="Freeform 47">
              <a:extLst>
                <a:ext uri="{FF2B5EF4-FFF2-40B4-BE49-F238E27FC236}">
                  <a16:creationId xmlns:a16="http://schemas.microsoft.com/office/drawing/2014/main" id="{C64C4D94-77FA-489B-98F9-1391ED5F4FD9}"/>
                </a:ext>
              </a:extLst>
            </p:cNvPr>
            <p:cNvSpPr>
              <a:spLocks/>
            </p:cNvSpPr>
            <p:nvPr/>
          </p:nvSpPr>
          <p:spPr bwMode="auto">
            <a:xfrm>
              <a:off x="4260850" y="1212850"/>
              <a:ext cx="161925" cy="101600"/>
            </a:xfrm>
            <a:custGeom>
              <a:avLst/>
              <a:gdLst>
                <a:gd name="T0" fmla="*/ 102 w 102"/>
                <a:gd name="T1" fmla="*/ 0 h 64"/>
                <a:gd name="T2" fmla="*/ 48 w 102"/>
                <a:gd name="T3" fmla="*/ 64 h 64"/>
                <a:gd name="T4" fmla="*/ 0 w 102"/>
                <a:gd name="T5" fmla="*/ 64 h 64"/>
              </a:gdLst>
              <a:ahLst/>
              <a:cxnLst>
                <a:cxn ang="0">
                  <a:pos x="T0" y="T1"/>
                </a:cxn>
                <a:cxn ang="0">
                  <a:pos x="T2" y="T3"/>
                </a:cxn>
                <a:cxn ang="0">
                  <a:pos x="T4" y="T5"/>
                </a:cxn>
              </a:cxnLst>
              <a:rect l="0" t="0" r="r" b="b"/>
              <a:pathLst>
                <a:path w="102" h="64">
                  <a:moveTo>
                    <a:pt x="102" y="0"/>
                  </a:moveTo>
                  <a:lnTo>
                    <a:pt x="48" y="64"/>
                  </a:lnTo>
                  <a:lnTo>
                    <a:pt x="0" y="64"/>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1" name="Freeform 48">
              <a:extLst>
                <a:ext uri="{FF2B5EF4-FFF2-40B4-BE49-F238E27FC236}">
                  <a16:creationId xmlns:a16="http://schemas.microsoft.com/office/drawing/2014/main" id="{2E459830-BD66-4898-A44F-0E0A86A5C1C8}"/>
                </a:ext>
              </a:extLst>
            </p:cNvPr>
            <p:cNvSpPr>
              <a:spLocks/>
            </p:cNvSpPr>
            <p:nvPr/>
          </p:nvSpPr>
          <p:spPr bwMode="auto">
            <a:xfrm>
              <a:off x="4387850" y="11747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2" name="Freeform 49">
              <a:extLst>
                <a:ext uri="{FF2B5EF4-FFF2-40B4-BE49-F238E27FC236}">
                  <a16:creationId xmlns:a16="http://schemas.microsoft.com/office/drawing/2014/main" id="{5BB59D04-D86F-4D7E-AA7A-40EFC4252FD2}"/>
                </a:ext>
              </a:extLst>
            </p:cNvPr>
            <p:cNvSpPr>
              <a:spLocks/>
            </p:cNvSpPr>
            <p:nvPr/>
          </p:nvSpPr>
          <p:spPr bwMode="auto">
            <a:xfrm>
              <a:off x="3930650" y="1149350"/>
              <a:ext cx="330200" cy="596900"/>
            </a:xfrm>
            <a:custGeom>
              <a:avLst/>
              <a:gdLst>
                <a:gd name="T0" fmla="*/ 152 w 208"/>
                <a:gd name="T1" fmla="*/ 0 h 376"/>
                <a:gd name="T2" fmla="*/ 134 w 208"/>
                <a:gd name="T3" fmla="*/ 4 h 376"/>
                <a:gd name="T4" fmla="*/ 118 w 208"/>
                <a:gd name="T5" fmla="*/ 12 h 376"/>
                <a:gd name="T6" fmla="*/ 106 w 208"/>
                <a:gd name="T7" fmla="*/ 24 h 376"/>
                <a:gd name="T8" fmla="*/ 98 w 208"/>
                <a:gd name="T9" fmla="*/ 40 h 376"/>
                <a:gd name="T10" fmla="*/ 86 w 208"/>
                <a:gd name="T11" fmla="*/ 42 h 376"/>
                <a:gd name="T12" fmla="*/ 66 w 208"/>
                <a:gd name="T13" fmla="*/ 52 h 376"/>
                <a:gd name="T14" fmla="*/ 50 w 208"/>
                <a:gd name="T15" fmla="*/ 70 h 376"/>
                <a:gd name="T16" fmla="*/ 42 w 208"/>
                <a:gd name="T17" fmla="*/ 94 h 376"/>
                <a:gd name="T18" fmla="*/ 40 w 208"/>
                <a:gd name="T19" fmla="*/ 108 h 376"/>
                <a:gd name="T20" fmla="*/ 40 w 208"/>
                <a:gd name="T21" fmla="*/ 116 h 376"/>
                <a:gd name="T22" fmla="*/ 24 w 208"/>
                <a:gd name="T23" fmla="*/ 128 h 376"/>
                <a:gd name="T24" fmla="*/ 12 w 208"/>
                <a:gd name="T25" fmla="*/ 146 h 376"/>
                <a:gd name="T26" fmla="*/ 4 w 208"/>
                <a:gd name="T27" fmla="*/ 166 h 376"/>
                <a:gd name="T28" fmla="*/ 0 w 208"/>
                <a:gd name="T29" fmla="*/ 192 h 376"/>
                <a:gd name="T30" fmla="*/ 2 w 208"/>
                <a:gd name="T31" fmla="*/ 208 h 376"/>
                <a:gd name="T32" fmla="*/ 10 w 208"/>
                <a:gd name="T33" fmla="*/ 238 h 376"/>
                <a:gd name="T34" fmla="*/ 18 w 208"/>
                <a:gd name="T35" fmla="*/ 248 h 376"/>
                <a:gd name="T36" fmla="*/ 16 w 208"/>
                <a:gd name="T37" fmla="*/ 274 h 376"/>
                <a:gd name="T38" fmla="*/ 20 w 208"/>
                <a:gd name="T39" fmla="*/ 288 h 376"/>
                <a:gd name="T40" fmla="*/ 30 w 208"/>
                <a:gd name="T41" fmla="*/ 312 h 376"/>
                <a:gd name="T42" fmla="*/ 50 w 208"/>
                <a:gd name="T43" fmla="*/ 328 h 376"/>
                <a:gd name="T44" fmla="*/ 72 w 208"/>
                <a:gd name="T45" fmla="*/ 336 h 376"/>
                <a:gd name="T46" fmla="*/ 84 w 208"/>
                <a:gd name="T47" fmla="*/ 336 h 376"/>
                <a:gd name="T48" fmla="*/ 92 w 208"/>
                <a:gd name="T49" fmla="*/ 352 h 376"/>
                <a:gd name="T50" fmla="*/ 106 w 208"/>
                <a:gd name="T51" fmla="*/ 364 h 376"/>
                <a:gd name="T52" fmla="*/ 124 w 208"/>
                <a:gd name="T53" fmla="*/ 372 h 376"/>
                <a:gd name="T54" fmla="*/ 144 w 208"/>
                <a:gd name="T55" fmla="*/ 376 h 376"/>
                <a:gd name="T56" fmla="*/ 156 w 208"/>
                <a:gd name="T57" fmla="*/ 374 h 376"/>
                <a:gd name="T58" fmla="*/ 180 w 208"/>
                <a:gd name="T59" fmla="*/ 366 h 376"/>
                <a:gd name="T60" fmla="*/ 198 w 208"/>
                <a:gd name="T61" fmla="*/ 350 h 376"/>
                <a:gd name="T62" fmla="*/ 206 w 208"/>
                <a:gd name="T63" fmla="*/ 328 h 376"/>
                <a:gd name="T64" fmla="*/ 208 w 208"/>
                <a:gd name="T65" fmla="*/ 56 h 376"/>
                <a:gd name="T66" fmla="*/ 206 w 208"/>
                <a:gd name="T67" fmla="*/ 44 h 376"/>
                <a:gd name="T68" fmla="*/ 198 w 208"/>
                <a:gd name="T69" fmla="*/ 24 h 376"/>
                <a:gd name="T70" fmla="*/ 184 w 208"/>
                <a:gd name="T71" fmla="*/ 10 h 376"/>
                <a:gd name="T72" fmla="*/ 164 w 208"/>
                <a:gd name="T73" fmla="*/ 2 h 376"/>
                <a:gd name="T74" fmla="*/ 152 w 208"/>
                <a:gd name="T7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376">
                  <a:moveTo>
                    <a:pt x="152" y="0"/>
                  </a:moveTo>
                  <a:lnTo>
                    <a:pt x="152" y="0"/>
                  </a:lnTo>
                  <a:lnTo>
                    <a:pt x="142" y="0"/>
                  </a:lnTo>
                  <a:lnTo>
                    <a:pt x="134" y="4"/>
                  </a:lnTo>
                  <a:lnTo>
                    <a:pt x="126" y="6"/>
                  </a:lnTo>
                  <a:lnTo>
                    <a:pt x="118" y="12"/>
                  </a:lnTo>
                  <a:lnTo>
                    <a:pt x="112" y="18"/>
                  </a:lnTo>
                  <a:lnTo>
                    <a:pt x="106" y="24"/>
                  </a:lnTo>
                  <a:lnTo>
                    <a:pt x="102" y="32"/>
                  </a:lnTo>
                  <a:lnTo>
                    <a:pt x="98" y="40"/>
                  </a:lnTo>
                  <a:lnTo>
                    <a:pt x="98" y="40"/>
                  </a:lnTo>
                  <a:lnTo>
                    <a:pt x="86" y="42"/>
                  </a:lnTo>
                  <a:lnTo>
                    <a:pt x="76" y="46"/>
                  </a:lnTo>
                  <a:lnTo>
                    <a:pt x="66" y="52"/>
                  </a:lnTo>
                  <a:lnTo>
                    <a:pt x="58" y="60"/>
                  </a:lnTo>
                  <a:lnTo>
                    <a:pt x="50" y="70"/>
                  </a:lnTo>
                  <a:lnTo>
                    <a:pt x="44" y="82"/>
                  </a:lnTo>
                  <a:lnTo>
                    <a:pt x="42" y="94"/>
                  </a:lnTo>
                  <a:lnTo>
                    <a:pt x="40" y="108"/>
                  </a:lnTo>
                  <a:lnTo>
                    <a:pt x="40" y="108"/>
                  </a:lnTo>
                  <a:lnTo>
                    <a:pt x="40" y="116"/>
                  </a:lnTo>
                  <a:lnTo>
                    <a:pt x="40" y="116"/>
                  </a:lnTo>
                  <a:lnTo>
                    <a:pt x="32" y="122"/>
                  </a:lnTo>
                  <a:lnTo>
                    <a:pt x="24" y="128"/>
                  </a:lnTo>
                  <a:lnTo>
                    <a:pt x="18" y="136"/>
                  </a:lnTo>
                  <a:lnTo>
                    <a:pt x="12" y="146"/>
                  </a:lnTo>
                  <a:lnTo>
                    <a:pt x="6" y="156"/>
                  </a:lnTo>
                  <a:lnTo>
                    <a:pt x="4" y="166"/>
                  </a:lnTo>
                  <a:lnTo>
                    <a:pt x="0" y="180"/>
                  </a:lnTo>
                  <a:lnTo>
                    <a:pt x="0" y="192"/>
                  </a:lnTo>
                  <a:lnTo>
                    <a:pt x="0" y="192"/>
                  </a:lnTo>
                  <a:lnTo>
                    <a:pt x="2" y="208"/>
                  </a:lnTo>
                  <a:lnTo>
                    <a:pt x="4" y="224"/>
                  </a:lnTo>
                  <a:lnTo>
                    <a:pt x="10" y="238"/>
                  </a:lnTo>
                  <a:lnTo>
                    <a:pt x="18" y="248"/>
                  </a:lnTo>
                  <a:lnTo>
                    <a:pt x="18" y="248"/>
                  </a:lnTo>
                  <a:lnTo>
                    <a:pt x="16" y="262"/>
                  </a:lnTo>
                  <a:lnTo>
                    <a:pt x="16" y="274"/>
                  </a:lnTo>
                  <a:lnTo>
                    <a:pt x="16" y="274"/>
                  </a:lnTo>
                  <a:lnTo>
                    <a:pt x="20" y="288"/>
                  </a:lnTo>
                  <a:lnTo>
                    <a:pt x="24" y="300"/>
                  </a:lnTo>
                  <a:lnTo>
                    <a:pt x="30" y="312"/>
                  </a:lnTo>
                  <a:lnTo>
                    <a:pt x="40" y="320"/>
                  </a:lnTo>
                  <a:lnTo>
                    <a:pt x="50" y="328"/>
                  </a:lnTo>
                  <a:lnTo>
                    <a:pt x="60" y="332"/>
                  </a:lnTo>
                  <a:lnTo>
                    <a:pt x="72" y="336"/>
                  </a:lnTo>
                  <a:lnTo>
                    <a:pt x="84" y="336"/>
                  </a:lnTo>
                  <a:lnTo>
                    <a:pt x="84" y="336"/>
                  </a:lnTo>
                  <a:lnTo>
                    <a:pt x="88" y="344"/>
                  </a:lnTo>
                  <a:lnTo>
                    <a:pt x="92" y="352"/>
                  </a:lnTo>
                  <a:lnTo>
                    <a:pt x="100" y="358"/>
                  </a:lnTo>
                  <a:lnTo>
                    <a:pt x="106" y="364"/>
                  </a:lnTo>
                  <a:lnTo>
                    <a:pt x="114" y="370"/>
                  </a:lnTo>
                  <a:lnTo>
                    <a:pt x="124" y="372"/>
                  </a:lnTo>
                  <a:lnTo>
                    <a:pt x="134" y="376"/>
                  </a:lnTo>
                  <a:lnTo>
                    <a:pt x="144" y="376"/>
                  </a:lnTo>
                  <a:lnTo>
                    <a:pt x="144" y="376"/>
                  </a:lnTo>
                  <a:lnTo>
                    <a:pt x="156" y="374"/>
                  </a:lnTo>
                  <a:lnTo>
                    <a:pt x="168" y="372"/>
                  </a:lnTo>
                  <a:lnTo>
                    <a:pt x="180" y="366"/>
                  </a:lnTo>
                  <a:lnTo>
                    <a:pt x="190" y="358"/>
                  </a:lnTo>
                  <a:lnTo>
                    <a:pt x="198" y="350"/>
                  </a:lnTo>
                  <a:lnTo>
                    <a:pt x="202" y="340"/>
                  </a:lnTo>
                  <a:lnTo>
                    <a:pt x="206" y="328"/>
                  </a:lnTo>
                  <a:lnTo>
                    <a:pt x="208" y="316"/>
                  </a:lnTo>
                  <a:lnTo>
                    <a:pt x="208" y="56"/>
                  </a:lnTo>
                  <a:lnTo>
                    <a:pt x="208" y="56"/>
                  </a:lnTo>
                  <a:lnTo>
                    <a:pt x="206" y="44"/>
                  </a:lnTo>
                  <a:lnTo>
                    <a:pt x="204" y="34"/>
                  </a:lnTo>
                  <a:lnTo>
                    <a:pt x="198" y="24"/>
                  </a:lnTo>
                  <a:lnTo>
                    <a:pt x="192" y="16"/>
                  </a:lnTo>
                  <a:lnTo>
                    <a:pt x="184" y="10"/>
                  </a:lnTo>
                  <a:lnTo>
                    <a:pt x="174" y="4"/>
                  </a:lnTo>
                  <a:lnTo>
                    <a:pt x="164" y="2"/>
                  </a:lnTo>
                  <a:lnTo>
                    <a:pt x="152" y="0"/>
                  </a:lnTo>
                  <a:lnTo>
                    <a:pt x="152"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3" name="Freeform 50">
              <a:extLst>
                <a:ext uri="{FF2B5EF4-FFF2-40B4-BE49-F238E27FC236}">
                  <a16:creationId xmlns:a16="http://schemas.microsoft.com/office/drawing/2014/main" id="{96EEB536-791B-48FE-8C8D-3986E3F812B4}"/>
                </a:ext>
              </a:extLst>
            </p:cNvPr>
            <p:cNvSpPr>
              <a:spLocks/>
            </p:cNvSpPr>
            <p:nvPr/>
          </p:nvSpPr>
          <p:spPr bwMode="auto">
            <a:xfrm>
              <a:off x="4083050" y="1212850"/>
              <a:ext cx="88900" cy="114300"/>
            </a:xfrm>
            <a:custGeom>
              <a:avLst/>
              <a:gdLst>
                <a:gd name="T0" fmla="*/ 56 w 56"/>
                <a:gd name="T1" fmla="*/ 72 h 72"/>
                <a:gd name="T2" fmla="*/ 56 w 56"/>
                <a:gd name="T3" fmla="*/ 72 h 72"/>
                <a:gd name="T4" fmla="*/ 44 w 56"/>
                <a:gd name="T5" fmla="*/ 70 h 72"/>
                <a:gd name="T6" fmla="*/ 34 w 56"/>
                <a:gd name="T7" fmla="*/ 68 h 72"/>
                <a:gd name="T8" fmla="*/ 24 w 56"/>
                <a:gd name="T9" fmla="*/ 62 h 72"/>
                <a:gd name="T10" fmla="*/ 16 w 56"/>
                <a:gd name="T11" fmla="*/ 56 h 72"/>
                <a:gd name="T12" fmla="*/ 10 w 56"/>
                <a:gd name="T13" fmla="*/ 48 h 72"/>
                <a:gd name="T14" fmla="*/ 4 w 56"/>
                <a:gd name="T15" fmla="*/ 38 h 72"/>
                <a:gd name="T16" fmla="*/ 2 w 56"/>
                <a:gd name="T17" fmla="*/ 28 h 72"/>
                <a:gd name="T18" fmla="*/ 0 w 56"/>
                <a:gd name="T19" fmla="*/ 16 h 72"/>
                <a:gd name="T20" fmla="*/ 0 w 56"/>
                <a:gd name="T21" fmla="*/ 16 h 72"/>
                <a:gd name="T22" fmla="*/ 2 w 56"/>
                <a:gd name="T2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2">
                  <a:moveTo>
                    <a:pt x="56" y="72"/>
                  </a:moveTo>
                  <a:lnTo>
                    <a:pt x="56" y="72"/>
                  </a:lnTo>
                  <a:lnTo>
                    <a:pt x="44" y="70"/>
                  </a:lnTo>
                  <a:lnTo>
                    <a:pt x="34" y="68"/>
                  </a:lnTo>
                  <a:lnTo>
                    <a:pt x="24" y="62"/>
                  </a:lnTo>
                  <a:lnTo>
                    <a:pt x="16" y="56"/>
                  </a:lnTo>
                  <a:lnTo>
                    <a:pt x="10" y="48"/>
                  </a:lnTo>
                  <a:lnTo>
                    <a:pt x="4" y="38"/>
                  </a:lnTo>
                  <a:lnTo>
                    <a:pt x="2" y="28"/>
                  </a:lnTo>
                  <a:lnTo>
                    <a:pt x="0" y="16"/>
                  </a:lnTo>
                  <a:lnTo>
                    <a:pt x="0" y="16"/>
                  </a:lnTo>
                  <a:lnTo>
                    <a:pt x="2"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4" name="Freeform 51">
              <a:extLst>
                <a:ext uri="{FF2B5EF4-FFF2-40B4-BE49-F238E27FC236}">
                  <a16:creationId xmlns:a16="http://schemas.microsoft.com/office/drawing/2014/main" id="{F019924B-9107-49E6-AFF9-8CC88330C609}"/>
                </a:ext>
              </a:extLst>
            </p:cNvPr>
            <p:cNvSpPr>
              <a:spLocks/>
            </p:cNvSpPr>
            <p:nvPr/>
          </p:nvSpPr>
          <p:spPr bwMode="auto">
            <a:xfrm>
              <a:off x="4057650" y="1390650"/>
              <a:ext cx="203200" cy="66675"/>
            </a:xfrm>
            <a:custGeom>
              <a:avLst/>
              <a:gdLst>
                <a:gd name="T0" fmla="*/ 0 w 128"/>
                <a:gd name="T1" fmla="*/ 38 h 42"/>
                <a:gd name="T2" fmla="*/ 0 w 128"/>
                <a:gd name="T3" fmla="*/ 38 h 42"/>
                <a:gd name="T4" fmla="*/ 6 w 128"/>
                <a:gd name="T5" fmla="*/ 40 h 42"/>
                <a:gd name="T6" fmla="*/ 14 w 128"/>
                <a:gd name="T7" fmla="*/ 42 h 42"/>
                <a:gd name="T8" fmla="*/ 20 w 128"/>
                <a:gd name="T9" fmla="*/ 42 h 42"/>
                <a:gd name="T10" fmla="*/ 28 w 128"/>
                <a:gd name="T11" fmla="*/ 40 h 42"/>
                <a:gd name="T12" fmla="*/ 40 w 128"/>
                <a:gd name="T13" fmla="*/ 32 h 42"/>
                <a:gd name="T14" fmla="*/ 52 w 128"/>
                <a:gd name="T15" fmla="*/ 22 h 42"/>
                <a:gd name="T16" fmla="*/ 52 w 128"/>
                <a:gd name="T17" fmla="*/ 22 h 42"/>
                <a:gd name="T18" fmla="*/ 60 w 128"/>
                <a:gd name="T19" fmla="*/ 14 h 42"/>
                <a:gd name="T20" fmla="*/ 68 w 128"/>
                <a:gd name="T21" fmla="*/ 8 h 42"/>
                <a:gd name="T22" fmla="*/ 78 w 128"/>
                <a:gd name="T23" fmla="*/ 4 h 42"/>
                <a:gd name="T24" fmla="*/ 86 w 128"/>
                <a:gd name="T25" fmla="*/ 0 h 42"/>
                <a:gd name="T26" fmla="*/ 96 w 128"/>
                <a:gd name="T27" fmla="*/ 0 h 42"/>
                <a:gd name="T28" fmla="*/ 104 w 128"/>
                <a:gd name="T29" fmla="*/ 2 h 42"/>
                <a:gd name="T30" fmla="*/ 112 w 128"/>
                <a:gd name="T31" fmla="*/ 6 h 42"/>
                <a:gd name="T32" fmla="*/ 120 w 128"/>
                <a:gd name="T33" fmla="*/ 12 h 42"/>
                <a:gd name="T34" fmla="*/ 120 w 128"/>
                <a:gd name="T35" fmla="*/ 12 h 42"/>
                <a:gd name="T36" fmla="*/ 128 w 128"/>
                <a:gd name="T37"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42">
                  <a:moveTo>
                    <a:pt x="0" y="38"/>
                  </a:moveTo>
                  <a:lnTo>
                    <a:pt x="0" y="38"/>
                  </a:lnTo>
                  <a:lnTo>
                    <a:pt x="6" y="40"/>
                  </a:lnTo>
                  <a:lnTo>
                    <a:pt x="14" y="42"/>
                  </a:lnTo>
                  <a:lnTo>
                    <a:pt x="20" y="42"/>
                  </a:lnTo>
                  <a:lnTo>
                    <a:pt x="28" y="40"/>
                  </a:lnTo>
                  <a:lnTo>
                    <a:pt x="40" y="32"/>
                  </a:lnTo>
                  <a:lnTo>
                    <a:pt x="52" y="22"/>
                  </a:lnTo>
                  <a:lnTo>
                    <a:pt x="52" y="22"/>
                  </a:lnTo>
                  <a:lnTo>
                    <a:pt x="60" y="14"/>
                  </a:lnTo>
                  <a:lnTo>
                    <a:pt x="68" y="8"/>
                  </a:lnTo>
                  <a:lnTo>
                    <a:pt x="78" y="4"/>
                  </a:lnTo>
                  <a:lnTo>
                    <a:pt x="86" y="0"/>
                  </a:lnTo>
                  <a:lnTo>
                    <a:pt x="96" y="0"/>
                  </a:lnTo>
                  <a:lnTo>
                    <a:pt x="104" y="2"/>
                  </a:lnTo>
                  <a:lnTo>
                    <a:pt x="112" y="6"/>
                  </a:lnTo>
                  <a:lnTo>
                    <a:pt x="120" y="12"/>
                  </a:lnTo>
                  <a:lnTo>
                    <a:pt x="120" y="12"/>
                  </a:lnTo>
                  <a:lnTo>
                    <a:pt x="128" y="26"/>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5" name="Freeform 52">
              <a:extLst>
                <a:ext uri="{FF2B5EF4-FFF2-40B4-BE49-F238E27FC236}">
                  <a16:creationId xmlns:a16="http://schemas.microsoft.com/office/drawing/2014/main" id="{5D4ECB83-416D-4097-A3E6-477F74E00AA8}"/>
                </a:ext>
              </a:extLst>
            </p:cNvPr>
            <p:cNvSpPr>
              <a:spLocks/>
            </p:cNvSpPr>
            <p:nvPr/>
          </p:nvSpPr>
          <p:spPr bwMode="auto">
            <a:xfrm>
              <a:off x="4171950" y="1225550"/>
              <a:ext cx="88900" cy="50800"/>
            </a:xfrm>
            <a:custGeom>
              <a:avLst/>
              <a:gdLst>
                <a:gd name="T0" fmla="*/ 56 w 56"/>
                <a:gd name="T1" fmla="*/ 32 h 32"/>
                <a:gd name="T2" fmla="*/ 56 w 56"/>
                <a:gd name="T3" fmla="*/ 32 h 32"/>
                <a:gd name="T4" fmla="*/ 46 w 56"/>
                <a:gd name="T5" fmla="*/ 32 h 32"/>
                <a:gd name="T6" fmla="*/ 38 w 56"/>
                <a:gd name="T7" fmla="*/ 32 h 32"/>
                <a:gd name="T8" fmla="*/ 30 w 56"/>
                <a:gd name="T9" fmla="*/ 30 h 32"/>
                <a:gd name="T10" fmla="*/ 22 w 56"/>
                <a:gd name="T11" fmla="*/ 26 h 32"/>
                <a:gd name="T12" fmla="*/ 14 w 56"/>
                <a:gd name="T13" fmla="*/ 22 h 32"/>
                <a:gd name="T14" fmla="*/ 8 w 56"/>
                <a:gd name="T15" fmla="*/ 16 h 32"/>
                <a:gd name="T16" fmla="*/ 4 w 56"/>
                <a:gd name="T17" fmla="*/ 8 h 32"/>
                <a:gd name="T18" fmla="*/ 0 w 56"/>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2">
                  <a:moveTo>
                    <a:pt x="56" y="32"/>
                  </a:moveTo>
                  <a:lnTo>
                    <a:pt x="56" y="32"/>
                  </a:lnTo>
                  <a:lnTo>
                    <a:pt x="46" y="32"/>
                  </a:lnTo>
                  <a:lnTo>
                    <a:pt x="38" y="32"/>
                  </a:lnTo>
                  <a:lnTo>
                    <a:pt x="30" y="30"/>
                  </a:lnTo>
                  <a:lnTo>
                    <a:pt x="22" y="26"/>
                  </a:lnTo>
                  <a:lnTo>
                    <a:pt x="14" y="22"/>
                  </a:lnTo>
                  <a:lnTo>
                    <a:pt x="8" y="16"/>
                  </a:lnTo>
                  <a:lnTo>
                    <a:pt x="4" y="8"/>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6" name="Freeform 53">
              <a:extLst>
                <a:ext uri="{FF2B5EF4-FFF2-40B4-BE49-F238E27FC236}">
                  <a16:creationId xmlns:a16="http://schemas.microsoft.com/office/drawing/2014/main" id="{7D293F85-3B2D-41CD-B03E-1760DA39ECA3}"/>
                </a:ext>
              </a:extLst>
            </p:cNvPr>
            <p:cNvSpPr>
              <a:spLocks/>
            </p:cNvSpPr>
            <p:nvPr/>
          </p:nvSpPr>
          <p:spPr bwMode="auto">
            <a:xfrm>
              <a:off x="4171950" y="1593850"/>
              <a:ext cx="88900" cy="50800"/>
            </a:xfrm>
            <a:custGeom>
              <a:avLst/>
              <a:gdLst>
                <a:gd name="T0" fmla="*/ 56 w 56"/>
                <a:gd name="T1" fmla="*/ 2 h 32"/>
                <a:gd name="T2" fmla="*/ 56 w 56"/>
                <a:gd name="T3" fmla="*/ 2 h 32"/>
                <a:gd name="T4" fmla="*/ 46 w 56"/>
                <a:gd name="T5" fmla="*/ 0 h 32"/>
                <a:gd name="T6" fmla="*/ 38 w 56"/>
                <a:gd name="T7" fmla="*/ 0 h 32"/>
                <a:gd name="T8" fmla="*/ 30 w 56"/>
                <a:gd name="T9" fmla="*/ 2 h 32"/>
                <a:gd name="T10" fmla="*/ 22 w 56"/>
                <a:gd name="T11" fmla="*/ 6 h 32"/>
                <a:gd name="T12" fmla="*/ 14 w 56"/>
                <a:gd name="T13" fmla="*/ 12 h 32"/>
                <a:gd name="T14" fmla="*/ 8 w 56"/>
                <a:gd name="T15" fmla="*/ 18 h 32"/>
                <a:gd name="T16" fmla="*/ 4 w 56"/>
                <a:gd name="T17" fmla="*/ 24 h 32"/>
                <a:gd name="T18" fmla="*/ 0 w 56"/>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2">
                  <a:moveTo>
                    <a:pt x="56" y="2"/>
                  </a:moveTo>
                  <a:lnTo>
                    <a:pt x="56" y="2"/>
                  </a:lnTo>
                  <a:lnTo>
                    <a:pt x="46" y="0"/>
                  </a:lnTo>
                  <a:lnTo>
                    <a:pt x="38" y="0"/>
                  </a:lnTo>
                  <a:lnTo>
                    <a:pt x="30" y="2"/>
                  </a:lnTo>
                  <a:lnTo>
                    <a:pt x="22" y="6"/>
                  </a:lnTo>
                  <a:lnTo>
                    <a:pt x="14" y="12"/>
                  </a:lnTo>
                  <a:lnTo>
                    <a:pt x="8" y="18"/>
                  </a:lnTo>
                  <a:lnTo>
                    <a:pt x="4" y="24"/>
                  </a:lnTo>
                  <a:lnTo>
                    <a:pt x="0" y="32"/>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7" name="Freeform 54">
              <a:extLst>
                <a:ext uri="{FF2B5EF4-FFF2-40B4-BE49-F238E27FC236}">
                  <a16:creationId xmlns:a16="http://schemas.microsoft.com/office/drawing/2014/main" id="{3DE029EE-81B4-4813-A2A4-A52BC75E6603}"/>
                </a:ext>
              </a:extLst>
            </p:cNvPr>
            <p:cNvSpPr>
              <a:spLocks/>
            </p:cNvSpPr>
            <p:nvPr/>
          </p:nvSpPr>
          <p:spPr bwMode="auto">
            <a:xfrm>
              <a:off x="4057650" y="1301750"/>
              <a:ext cx="50800" cy="50800"/>
            </a:xfrm>
            <a:custGeom>
              <a:avLst/>
              <a:gdLst>
                <a:gd name="T0" fmla="*/ 32 w 32"/>
                <a:gd name="T1" fmla="*/ 0 h 32"/>
                <a:gd name="T2" fmla="*/ 32 w 32"/>
                <a:gd name="T3" fmla="*/ 0 h 32"/>
                <a:gd name="T4" fmla="*/ 20 w 32"/>
                <a:gd name="T5" fmla="*/ 4 h 32"/>
                <a:gd name="T6" fmla="*/ 10 w 32"/>
                <a:gd name="T7" fmla="*/ 12 h 32"/>
                <a:gd name="T8" fmla="*/ 2 w 32"/>
                <a:gd name="T9" fmla="*/ 20 h 32"/>
                <a:gd name="T10" fmla="*/ 0 w 32"/>
                <a:gd name="T11" fmla="*/ 26 h 32"/>
                <a:gd name="T12" fmla="*/ 0 w 3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32" y="0"/>
                  </a:moveTo>
                  <a:lnTo>
                    <a:pt x="32" y="0"/>
                  </a:lnTo>
                  <a:lnTo>
                    <a:pt x="20" y="4"/>
                  </a:lnTo>
                  <a:lnTo>
                    <a:pt x="10" y="12"/>
                  </a:lnTo>
                  <a:lnTo>
                    <a:pt x="2" y="20"/>
                  </a:lnTo>
                  <a:lnTo>
                    <a:pt x="0" y="26"/>
                  </a:lnTo>
                  <a:lnTo>
                    <a:pt x="0" y="32"/>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8" name="Freeform 55">
              <a:extLst>
                <a:ext uri="{FF2B5EF4-FFF2-40B4-BE49-F238E27FC236}">
                  <a16:creationId xmlns:a16="http://schemas.microsoft.com/office/drawing/2014/main" id="{95D5BB48-B396-404F-99AC-BC6EF0B53601}"/>
                </a:ext>
              </a:extLst>
            </p:cNvPr>
            <p:cNvSpPr>
              <a:spLocks/>
            </p:cNvSpPr>
            <p:nvPr/>
          </p:nvSpPr>
          <p:spPr bwMode="auto">
            <a:xfrm>
              <a:off x="4019550" y="1543050"/>
              <a:ext cx="50800" cy="50800"/>
            </a:xfrm>
            <a:custGeom>
              <a:avLst/>
              <a:gdLst>
                <a:gd name="T0" fmla="*/ 32 w 32"/>
                <a:gd name="T1" fmla="*/ 32 h 32"/>
                <a:gd name="T2" fmla="*/ 32 w 32"/>
                <a:gd name="T3" fmla="*/ 32 h 32"/>
                <a:gd name="T4" fmla="*/ 20 w 32"/>
                <a:gd name="T5" fmla="*/ 28 h 32"/>
                <a:gd name="T6" fmla="*/ 10 w 32"/>
                <a:gd name="T7" fmla="*/ 20 h 32"/>
                <a:gd name="T8" fmla="*/ 2 w 32"/>
                <a:gd name="T9" fmla="*/ 12 h 32"/>
                <a:gd name="T10" fmla="*/ 0 w 32"/>
                <a:gd name="T11" fmla="*/ 6 h 32"/>
                <a:gd name="T12" fmla="*/ 0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32" y="32"/>
                  </a:moveTo>
                  <a:lnTo>
                    <a:pt x="32" y="32"/>
                  </a:lnTo>
                  <a:lnTo>
                    <a:pt x="20" y="28"/>
                  </a:lnTo>
                  <a:lnTo>
                    <a:pt x="10" y="20"/>
                  </a:lnTo>
                  <a:lnTo>
                    <a:pt x="2" y="12"/>
                  </a:lnTo>
                  <a:lnTo>
                    <a:pt x="0" y="6"/>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9" name="Freeform 56">
              <a:extLst>
                <a:ext uri="{FF2B5EF4-FFF2-40B4-BE49-F238E27FC236}">
                  <a16:creationId xmlns:a16="http://schemas.microsoft.com/office/drawing/2014/main" id="{E312B64A-FCCD-49D2-9D64-ED22B5C1D21D}"/>
                </a:ext>
              </a:extLst>
            </p:cNvPr>
            <p:cNvSpPr>
              <a:spLocks/>
            </p:cNvSpPr>
            <p:nvPr/>
          </p:nvSpPr>
          <p:spPr bwMode="auto">
            <a:xfrm>
              <a:off x="4057650" y="1492250"/>
              <a:ext cx="152400" cy="206375"/>
            </a:xfrm>
            <a:custGeom>
              <a:avLst/>
              <a:gdLst>
                <a:gd name="T0" fmla="*/ 8 w 96"/>
                <a:gd name="T1" fmla="*/ 130 h 130"/>
                <a:gd name="T2" fmla="*/ 8 w 96"/>
                <a:gd name="T3" fmla="*/ 130 h 130"/>
                <a:gd name="T4" fmla="*/ 2 w 96"/>
                <a:gd name="T5" fmla="*/ 116 h 130"/>
                <a:gd name="T6" fmla="*/ 0 w 96"/>
                <a:gd name="T7" fmla="*/ 100 h 130"/>
                <a:gd name="T8" fmla="*/ 0 w 96"/>
                <a:gd name="T9" fmla="*/ 100 h 130"/>
                <a:gd name="T10" fmla="*/ 2 w 96"/>
                <a:gd name="T11" fmla="*/ 88 h 130"/>
                <a:gd name="T12" fmla="*/ 6 w 96"/>
                <a:gd name="T13" fmla="*/ 76 h 130"/>
                <a:gd name="T14" fmla="*/ 10 w 96"/>
                <a:gd name="T15" fmla="*/ 66 h 130"/>
                <a:gd name="T16" fmla="*/ 18 w 96"/>
                <a:gd name="T17" fmla="*/ 58 h 130"/>
                <a:gd name="T18" fmla="*/ 28 w 96"/>
                <a:gd name="T19" fmla="*/ 50 h 130"/>
                <a:gd name="T20" fmla="*/ 40 w 96"/>
                <a:gd name="T21" fmla="*/ 44 h 130"/>
                <a:gd name="T22" fmla="*/ 52 w 96"/>
                <a:gd name="T23" fmla="*/ 42 h 130"/>
                <a:gd name="T24" fmla="*/ 64 w 96"/>
                <a:gd name="T25" fmla="*/ 40 h 130"/>
                <a:gd name="T26" fmla="*/ 64 w 96"/>
                <a:gd name="T27" fmla="*/ 40 h 130"/>
                <a:gd name="T28" fmla="*/ 64 w 96"/>
                <a:gd name="T29" fmla="*/ 32 h 130"/>
                <a:gd name="T30" fmla="*/ 64 w 96"/>
                <a:gd name="T31" fmla="*/ 32 h 130"/>
                <a:gd name="T32" fmla="*/ 64 w 96"/>
                <a:gd name="T33" fmla="*/ 26 h 130"/>
                <a:gd name="T34" fmla="*/ 68 w 96"/>
                <a:gd name="T35" fmla="*/ 22 h 130"/>
                <a:gd name="T36" fmla="*/ 76 w 96"/>
                <a:gd name="T37" fmla="*/ 10 h 130"/>
                <a:gd name="T38" fmla="*/ 86 w 96"/>
                <a:gd name="T39" fmla="*/ 4 h 130"/>
                <a:gd name="T40" fmla="*/ 90 w 96"/>
                <a:gd name="T41" fmla="*/ 0 h 130"/>
                <a:gd name="T42" fmla="*/ 96 w 96"/>
                <a:gd name="T4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30">
                  <a:moveTo>
                    <a:pt x="8" y="130"/>
                  </a:moveTo>
                  <a:lnTo>
                    <a:pt x="8" y="130"/>
                  </a:lnTo>
                  <a:lnTo>
                    <a:pt x="2" y="116"/>
                  </a:lnTo>
                  <a:lnTo>
                    <a:pt x="0" y="100"/>
                  </a:lnTo>
                  <a:lnTo>
                    <a:pt x="0" y="100"/>
                  </a:lnTo>
                  <a:lnTo>
                    <a:pt x="2" y="88"/>
                  </a:lnTo>
                  <a:lnTo>
                    <a:pt x="6" y="76"/>
                  </a:lnTo>
                  <a:lnTo>
                    <a:pt x="10" y="66"/>
                  </a:lnTo>
                  <a:lnTo>
                    <a:pt x="18" y="58"/>
                  </a:lnTo>
                  <a:lnTo>
                    <a:pt x="28" y="50"/>
                  </a:lnTo>
                  <a:lnTo>
                    <a:pt x="40" y="44"/>
                  </a:lnTo>
                  <a:lnTo>
                    <a:pt x="52" y="42"/>
                  </a:lnTo>
                  <a:lnTo>
                    <a:pt x="64" y="40"/>
                  </a:lnTo>
                  <a:lnTo>
                    <a:pt x="64" y="40"/>
                  </a:lnTo>
                  <a:lnTo>
                    <a:pt x="64" y="32"/>
                  </a:lnTo>
                  <a:lnTo>
                    <a:pt x="64" y="32"/>
                  </a:lnTo>
                  <a:lnTo>
                    <a:pt x="64" y="26"/>
                  </a:lnTo>
                  <a:lnTo>
                    <a:pt x="68" y="22"/>
                  </a:lnTo>
                  <a:lnTo>
                    <a:pt x="76" y="10"/>
                  </a:lnTo>
                  <a:lnTo>
                    <a:pt x="86" y="4"/>
                  </a:lnTo>
                  <a:lnTo>
                    <a:pt x="90" y="0"/>
                  </a:lnTo>
                  <a:lnTo>
                    <a:pt x="96"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0" name="Freeform 57">
              <a:extLst>
                <a:ext uri="{FF2B5EF4-FFF2-40B4-BE49-F238E27FC236}">
                  <a16:creationId xmlns:a16="http://schemas.microsoft.com/office/drawing/2014/main" id="{BEA70160-0DBC-4F45-A774-030F86B85673}"/>
                </a:ext>
              </a:extLst>
            </p:cNvPr>
            <p:cNvSpPr>
              <a:spLocks/>
            </p:cNvSpPr>
            <p:nvPr/>
          </p:nvSpPr>
          <p:spPr bwMode="auto">
            <a:xfrm>
              <a:off x="4006850" y="1403350"/>
              <a:ext cx="44450" cy="88900"/>
            </a:xfrm>
            <a:custGeom>
              <a:avLst/>
              <a:gdLst>
                <a:gd name="T0" fmla="*/ 0 w 28"/>
                <a:gd name="T1" fmla="*/ 0 h 56"/>
                <a:gd name="T2" fmla="*/ 0 w 28"/>
                <a:gd name="T3" fmla="*/ 0 h 56"/>
                <a:gd name="T4" fmla="*/ 10 w 28"/>
                <a:gd name="T5" fmla="*/ 2 h 56"/>
                <a:gd name="T6" fmla="*/ 20 w 28"/>
                <a:gd name="T7" fmla="*/ 8 h 56"/>
                <a:gd name="T8" fmla="*/ 26 w 28"/>
                <a:gd name="T9" fmla="*/ 18 h 56"/>
                <a:gd name="T10" fmla="*/ 28 w 28"/>
                <a:gd name="T11" fmla="*/ 28 h 56"/>
                <a:gd name="T12" fmla="*/ 28 w 28"/>
                <a:gd name="T13" fmla="*/ 28 h 56"/>
                <a:gd name="T14" fmla="*/ 26 w 28"/>
                <a:gd name="T15" fmla="*/ 38 h 56"/>
                <a:gd name="T16" fmla="*/ 20 w 28"/>
                <a:gd name="T17" fmla="*/ 48 h 56"/>
                <a:gd name="T18" fmla="*/ 10 w 28"/>
                <a:gd name="T19" fmla="*/ 54 h 56"/>
                <a:gd name="T20" fmla="*/ 0 w 28"/>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56">
                  <a:moveTo>
                    <a:pt x="0" y="0"/>
                  </a:moveTo>
                  <a:lnTo>
                    <a:pt x="0" y="0"/>
                  </a:lnTo>
                  <a:lnTo>
                    <a:pt x="10" y="2"/>
                  </a:lnTo>
                  <a:lnTo>
                    <a:pt x="20" y="8"/>
                  </a:lnTo>
                  <a:lnTo>
                    <a:pt x="26" y="18"/>
                  </a:lnTo>
                  <a:lnTo>
                    <a:pt x="28" y="28"/>
                  </a:lnTo>
                  <a:lnTo>
                    <a:pt x="28" y="28"/>
                  </a:lnTo>
                  <a:lnTo>
                    <a:pt x="26" y="38"/>
                  </a:lnTo>
                  <a:lnTo>
                    <a:pt x="20" y="48"/>
                  </a:lnTo>
                  <a:lnTo>
                    <a:pt x="10" y="54"/>
                  </a:lnTo>
                  <a:lnTo>
                    <a:pt x="0" y="56"/>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1" name="Line 58">
              <a:extLst>
                <a:ext uri="{FF2B5EF4-FFF2-40B4-BE49-F238E27FC236}">
                  <a16:creationId xmlns:a16="http://schemas.microsoft.com/office/drawing/2014/main" id="{4CCD5314-135D-44CC-A997-9874E908510D}"/>
                </a:ext>
              </a:extLst>
            </p:cNvPr>
            <p:cNvSpPr>
              <a:spLocks noChangeShapeType="1"/>
            </p:cNvSpPr>
            <p:nvPr/>
          </p:nvSpPr>
          <p:spPr bwMode="auto">
            <a:xfrm>
              <a:off x="4260850" y="13779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2" name="Line 59">
              <a:extLst>
                <a:ext uri="{FF2B5EF4-FFF2-40B4-BE49-F238E27FC236}">
                  <a16:creationId xmlns:a16="http://schemas.microsoft.com/office/drawing/2014/main" id="{FB34A90F-BEE9-45C7-92D3-BFC285377BB1}"/>
                </a:ext>
              </a:extLst>
            </p:cNvPr>
            <p:cNvSpPr>
              <a:spLocks noChangeShapeType="1"/>
            </p:cNvSpPr>
            <p:nvPr/>
          </p:nvSpPr>
          <p:spPr bwMode="auto">
            <a:xfrm>
              <a:off x="4324350" y="13779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3" name="Line 60">
              <a:extLst>
                <a:ext uri="{FF2B5EF4-FFF2-40B4-BE49-F238E27FC236}">
                  <a16:creationId xmlns:a16="http://schemas.microsoft.com/office/drawing/2014/main" id="{354975A4-40DB-46BA-AC78-BFE5870AAA8C}"/>
                </a:ext>
              </a:extLst>
            </p:cNvPr>
            <p:cNvSpPr>
              <a:spLocks noChangeShapeType="1"/>
            </p:cNvSpPr>
            <p:nvPr/>
          </p:nvSpPr>
          <p:spPr bwMode="auto">
            <a:xfrm flipH="1">
              <a:off x="4324350" y="15049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4" name="Line 61">
              <a:extLst>
                <a:ext uri="{FF2B5EF4-FFF2-40B4-BE49-F238E27FC236}">
                  <a16:creationId xmlns:a16="http://schemas.microsoft.com/office/drawing/2014/main" id="{F7E13297-F7DA-4367-8E42-99BC27887840}"/>
                </a:ext>
              </a:extLst>
            </p:cNvPr>
            <p:cNvSpPr>
              <a:spLocks noChangeShapeType="1"/>
            </p:cNvSpPr>
            <p:nvPr/>
          </p:nvSpPr>
          <p:spPr bwMode="auto">
            <a:xfrm flipH="1">
              <a:off x="4260850" y="15049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5" name="Line 62">
              <a:extLst>
                <a:ext uri="{FF2B5EF4-FFF2-40B4-BE49-F238E27FC236}">
                  <a16:creationId xmlns:a16="http://schemas.microsoft.com/office/drawing/2014/main" id="{4E5E80E6-3539-4B32-B542-B4F57B9FCDDB}"/>
                </a:ext>
              </a:extLst>
            </p:cNvPr>
            <p:cNvSpPr>
              <a:spLocks noChangeShapeType="1"/>
            </p:cNvSpPr>
            <p:nvPr/>
          </p:nvSpPr>
          <p:spPr bwMode="auto">
            <a:xfrm>
              <a:off x="4260850" y="15684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6" name="Line 63">
              <a:extLst>
                <a:ext uri="{FF2B5EF4-FFF2-40B4-BE49-F238E27FC236}">
                  <a16:creationId xmlns:a16="http://schemas.microsoft.com/office/drawing/2014/main" id="{70173F63-3366-4519-8454-16FA65AA8017}"/>
                </a:ext>
              </a:extLst>
            </p:cNvPr>
            <p:cNvSpPr>
              <a:spLocks noChangeShapeType="1"/>
            </p:cNvSpPr>
            <p:nvPr/>
          </p:nvSpPr>
          <p:spPr bwMode="auto">
            <a:xfrm>
              <a:off x="4260850" y="1441450"/>
              <a:ext cx="635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7" name="Line 64">
              <a:extLst>
                <a:ext uri="{FF2B5EF4-FFF2-40B4-BE49-F238E27FC236}">
                  <a16:creationId xmlns:a16="http://schemas.microsoft.com/office/drawing/2014/main" id="{2213EAA6-272F-410E-99BF-DCE9D09DA783}"/>
                </a:ext>
              </a:extLst>
            </p:cNvPr>
            <p:cNvSpPr>
              <a:spLocks noChangeShapeType="1"/>
            </p:cNvSpPr>
            <p:nvPr/>
          </p:nvSpPr>
          <p:spPr bwMode="auto">
            <a:xfrm>
              <a:off x="4349750" y="14414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8" name="Line 65">
              <a:extLst>
                <a:ext uri="{FF2B5EF4-FFF2-40B4-BE49-F238E27FC236}">
                  <a16:creationId xmlns:a16="http://schemas.microsoft.com/office/drawing/2014/main" id="{7F6ABF3E-4642-46BF-9AAC-A5C38362F430}"/>
                </a:ext>
              </a:extLst>
            </p:cNvPr>
            <p:cNvSpPr>
              <a:spLocks noChangeShapeType="1"/>
            </p:cNvSpPr>
            <p:nvPr/>
          </p:nvSpPr>
          <p:spPr bwMode="auto">
            <a:xfrm>
              <a:off x="4260850" y="1123950"/>
              <a:ext cx="0" cy="647701"/>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9" name="Line 66">
              <a:extLst>
                <a:ext uri="{FF2B5EF4-FFF2-40B4-BE49-F238E27FC236}">
                  <a16:creationId xmlns:a16="http://schemas.microsoft.com/office/drawing/2014/main" id="{23194A0B-20BA-4856-A2AA-E6AD986F39AE}"/>
                </a:ext>
              </a:extLst>
            </p:cNvPr>
            <p:cNvSpPr>
              <a:spLocks noChangeShapeType="1"/>
            </p:cNvSpPr>
            <p:nvPr/>
          </p:nvSpPr>
          <p:spPr bwMode="auto">
            <a:xfrm flipV="1">
              <a:off x="4260850" y="1047750"/>
              <a:ext cx="0" cy="508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0" name="Line 67">
              <a:extLst>
                <a:ext uri="{FF2B5EF4-FFF2-40B4-BE49-F238E27FC236}">
                  <a16:creationId xmlns:a16="http://schemas.microsoft.com/office/drawing/2014/main" id="{273873C6-6FC2-43F2-A850-DA36CD444985}"/>
                </a:ext>
              </a:extLst>
            </p:cNvPr>
            <p:cNvSpPr>
              <a:spLocks noChangeShapeType="1"/>
            </p:cNvSpPr>
            <p:nvPr/>
          </p:nvSpPr>
          <p:spPr bwMode="auto">
            <a:xfrm>
              <a:off x="4260850" y="1797050"/>
              <a:ext cx="0" cy="508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51" name="Group 250">
            <a:extLst>
              <a:ext uri="{FF2B5EF4-FFF2-40B4-BE49-F238E27FC236}">
                <a16:creationId xmlns:a16="http://schemas.microsoft.com/office/drawing/2014/main" id="{0E8F418C-D224-4472-8A3D-39BCC8121E66}"/>
              </a:ext>
            </a:extLst>
          </p:cNvPr>
          <p:cNvGrpSpPr/>
          <p:nvPr/>
        </p:nvGrpSpPr>
        <p:grpSpPr>
          <a:xfrm>
            <a:off x="3240930" y="5852900"/>
            <a:ext cx="558800" cy="571500"/>
            <a:chOff x="6705600" y="2647950"/>
            <a:chExt cx="558800" cy="571500"/>
          </a:xfrm>
        </p:grpSpPr>
        <p:sp>
          <p:nvSpPr>
            <p:cNvPr id="252" name="Freeform 40">
              <a:extLst>
                <a:ext uri="{FF2B5EF4-FFF2-40B4-BE49-F238E27FC236}">
                  <a16:creationId xmlns:a16="http://schemas.microsoft.com/office/drawing/2014/main" id="{1D971903-62B1-49EC-B0EB-4FD6E2704659}"/>
                </a:ext>
              </a:extLst>
            </p:cNvPr>
            <p:cNvSpPr>
              <a:spLocks/>
            </p:cNvSpPr>
            <p:nvPr/>
          </p:nvSpPr>
          <p:spPr bwMode="auto">
            <a:xfrm>
              <a:off x="6896100" y="2911475"/>
              <a:ext cx="368300" cy="219075"/>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4"/>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3" name="Freeform 41">
              <a:extLst>
                <a:ext uri="{FF2B5EF4-FFF2-40B4-BE49-F238E27FC236}">
                  <a16:creationId xmlns:a16="http://schemas.microsoft.com/office/drawing/2014/main" id="{A371476E-D790-4393-90AF-949974B49B08}"/>
                </a:ext>
              </a:extLst>
            </p:cNvPr>
            <p:cNvSpPr>
              <a:spLocks/>
            </p:cNvSpPr>
            <p:nvPr/>
          </p:nvSpPr>
          <p:spPr bwMode="auto">
            <a:xfrm>
              <a:off x="6794500" y="2952750"/>
              <a:ext cx="317500" cy="88900"/>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4" name="Freeform 42">
              <a:extLst>
                <a:ext uri="{FF2B5EF4-FFF2-40B4-BE49-F238E27FC236}">
                  <a16:creationId xmlns:a16="http://schemas.microsoft.com/office/drawing/2014/main" id="{10A7AF3F-B44A-4BE5-9D5B-393F54CB9B5B}"/>
                </a:ext>
              </a:extLst>
            </p:cNvPr>
            <p:cNvSpPr>
              <a:spLocks/>
            </p:cNvSpPr>
            <p:nvPr/>
          </p:nvSpPr>
          <p:spPr bwMode="auto">
            <a:xfrm>
              <a:off x="6705600" y="3003550"/>
              <a:ext cx="215900" cy="21590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5" name="Line 43">
              <a:extLst>
                <a:ext uri="{FF2B5EF4-FFF2-40B4-BE49-F238E27FC236}">
                  <a16:creationId xmlns:a16="http://schemas.microsoft.com/office/drawing/2014/main" id="{FB34E98D-066F-494D-9C06-7666A44DEB5A}"/>
                </a:ext>
              </a:extLst>
            </p:cNvPr>
            <p:cNvSpPr>
              <a:spLocks noChangeShapeType="1"/>
            </p:cNvSpPr>
            <p:nvPr/>
          </p:nvSpPr>
          <p:spPr bwMode="auto">
            <a:xfrm>
              <a:off x="6769100" y="3067050"/>
              <a:ext cx="25400" cy="2540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6" name="Freeform 44">
              <a:extLst>
                <a:ext uri="{FF2B5EF4-FFF2-40B4-BE49-F238E27FC236}">
                  <a16:creationId xmlns:a16="http://schemas.microsoft.com/office/drawing/2014/main" id="{BFAD201E-4F9D-4A84-888D-3B6A577962C2}"/>
                </a:ext>
              </a:extLst>
            </p:cNvPr>
            <p:cNvSpPr>
              <a:spLocks/>
            </p:cNvSpPr>
            <p:nvPr/>
          </p:nvSpPr>
          <p:spPr bwMode="auto">
            <a:xfrm>
              <a:off x="6896100" y="2647950"/>
              <a:ext cx="279400" cy="304800"/>
            </a:xfrm>
            <a:custGeom>
              <a:avLst/>
              <a:gdLst>
                <a:gd name="T0" fmla="*/ 0 w 176"/>
                <a:gd name="T1" fmla="*/ 192 h 192"/>
                <a:gd name="T2" fmla="*/ 0 w 176"/>
                <a:gd name="T3" fmla="*/ 0 h 192"/>
                <a:gd name="T4" fmla="*/ 176 w 176"/>
                <a:gd name="T5" fmla="*/ 0 h 192"/>
                <a:gd name="T6" fmla="*/ 176 w 176"/>
                <a:gd name="T7" fmla="*/ 184 h 192"/>
              </a:gdLst>
              <a:ahLst/>
              <a:cxnLst>
                <a:cxn ang="0">
                  <a:pos x="T0" y="T1"/>
                </a:cxn>
                <a:cxn ang="0">
                  <a:pos x="T2" y="T3"/>
                </a:cxn>
                <a:cxn ang="0">
                  <a:pos x="T4" y="T5"/>
                </a:cxn>
                <a:cxn ang="0">
                  <a:pos x="T6" y="T7"/>
                </a:cxn>
              </a:cxnLst>
              <a:rect l="0" t="0" r="r" b="b"/>
              <a:pathLst>
                <a:path w="176" h="192">
                  <a:moveTo>
                    <a:pt x="0" y="192"/>
                  </a:moveTo>
                  <a:lnTo>
                    <a:pt x="0" y="0"/>
                  </a:lnTo>
                  <a:lnTo>
                    <a:pt x="176" y="0"/>
                  </a:lnTo>
                  <a:lnTo>
                    <a:pt x="176" y="184"/>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7" name="Line 45">
              <a:extLst>
                <a:ext uri="{FF2B5EF4-FFF2-40B4-BE49-F238E27FC236}">
                  <a16:creationId xmlns:a16="http://schemas.microsoft.com/office/drawing/2014/main" id="{A9B3BD2C-7246-4A0D-A58C-91B9E6BCAA78}"/>
                </a:ext>
              </a:extLst>
            </p:cNvPr>
            <p:cNvSpPr>
              <a:spLocks noChangeShapeType="1"/>
            </p:cNvSpPr>
            <p:nvPr/>
          </p:nvSpPr>
          <p:spPr bwMode="auto">
            <a:xfrm>
              <a:off x="6896100" y="2762250"/>
              <a:ext cx="279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8" name="Line 46">
              <a:extLst>
                <a:ext uri="{FF2B5EF4-FFF2-40B4-BE49-F238E27FC236}">
                  <a16:creationId xmlns:a16="http://schemas.microsoft.com/office/drawing/2014/main" id="{7483976E-FB2B-47A8-9222-4F0E1771F7C2}"/>
                </a:ext>
              </a:extLst>
            </p:cNvPr>
            <p:cNvSpPr>
              <a:spLocks noChangeShapeType="1"/>
            </p:cNvSpPr>
            <p:nvPr/>
          </p:nvSpPr>
          <p:spPr bwMode="auto">
            <a:xfrm>
              <a:off x="6896100" y="2876550"/>
              <a:ext cx="279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9" name="Line 47">
              <a:extLst>
                <a:ext uri="{FF2B5EF4-FFF2-40B4-BE49-F238E27FC236}">
                  <a16:creationId xmlns:a16="http://schemas.microsoft.com/office/drawing/2014/main" id="{8270AB69-43A1-456C-853C-5072C60B5E50}"/>
                </a:ext>
              </a:extLst>
            </p:cNvPr>
            <p:cNvSpPr>
              <a:spLocks noChangeShapeType="1"/>
            </p:cNvSpPr>
            <p:nvPr/>
          </p:nvSpPr>
          <p:spPr bwMode="auto">
            <a:xfrm>
              <a:off x="6934200" y="2711450"/>
              <a:ext cx="381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0" name="Line 48">
              <a:extLst>
                <a:ext uri="{FF2B5EF4-FFF2-40B4-BE49-F238E27FC236}">
                  <a16:creationId xmlns:a16="http://schemas.microsoft.com/office/drawing/2014/main" id="{B298E89F-AE7B-4D09-9868-9933E5B135C5}"/>
                </a:ext>
              </a:extLst>
            </p:cNvPr>
            <p:cNvSpPr>
              <a:spLocks noChangeShapeType="1"/>
            </p:cNvSpPr>
            <p:nvPr/>
          </p:nvSpPr>
          <p:spPr bwMode="auto">
            <a:xfrm>
              <a:off x="6934200" y="2825750"/>
              <a:ext cx="381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267" name="Rectangle 266">
            <a:extLst>
              <a:ext uri="{FF2B5EF4-FFF2-40B4-BE49-F238E27FC236}">
                <a16:creationId xmlns:a16="http://schemas.microsoft.com/office/drawing/2014/main" id="{DE800C1F-7DED-41F2-A1B0-E420F8C09618}"/>
              </a:ext>
            </a:extLst>
          </p:cNvPr>
          <p:cNvSpPr>
            <a:spLocks noChangeArrowheads="1"/>
          </p:cNvSpPr>
          <p:nvPr/>
        </p:nvSpPr>
        <p:spPr bwMode="gray">
          <a:xfrm>
            <a:off x="5907872" y="822287"/>
            <a:ext cx="5650610" cy="387798"/>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chemeClr val="tx2">
                  <a:lumMod val="90000"/>
                  <a:lumOff val="10000"/>
                </a:schemeClr>
              </a:buClr>
              <a:buSzPct val="75000"/>
            </a:pPr>
            <a:r>
              <a:rPr lang="en-US" sz="1400">
                <a:cs typeface="Calibri"/>
              </a:rPr>
              <a:t>Provide vision and expertise on how data strategy can be implemented to meet business objectives</a:t>
            </a:r>
          </a:p>
        </p:txBody>
      </p:sp>
      <p:sp>
        <p:nvSpPr>
          <p:cNvPr id="268" name="Rectangle 9">
            <a:extLst>
              <a:ext uri="{FF2B5EF4-FFF2-40B4-BE49-F238E27FC236}">
                <a16:creationId xmlns:a16="http://schemas.microsoft.com/office/drawing/2014/main" id="{0EB84407-9A2A-4C16-A3A7-7992BEC01DEB}"/>
              </a:ext>
            </a:extLst>
          </p:cNvPr>
          <p:cNvSpPr>
            <a:spLocks noChangeArrowheads="1"/>
          </p:cNvSpPr>
          <p:nvPr/>
        </p:nvSpPr>
        <p:spPr bwMode="gray">
          <a:xfrm>
            <a:off x="5907870" y="5815256"/>
            <a:ext cx="5552070" cy="430887"/>
          </a:xfrm>
          <a:prstGeom prst="rect">
            <a:avLst/>
          </a:prstGeom>
          <a:noFill/>
          <a:ln w="9525" algn="ctr">
            <a:noFill/>
            <a:miter lim="800000"/>
            <a:headEnd/>
            <a:tailEnd/>
          </a:ln>
          <a:effectLst/>
        </p:spPr>
        <p:txBody>
          <a:bodyPr wrap="square" lIns="0" tIns="0" rIns="0" bIns="0" anchor="ctr">
            <a:spAutoFit/>
          </a:bodyPr>
          <a:lstStyle/>
          <a:p>
            <a:pPr algn="l"/>
            <a:r>
              <a:rPr lang="en-US" sz="1400">
                <a:cs typeface="Calibri"/>
              </a:rPr>
              <a:t>Foster a data-driven orientation by prioritizing cultural change and influencing data literacy.  </a:t>
            </a:r>
          </a:p>
        </p:txBody>
      </p:sp>
    </p:spTree>
    <p:extLst>
      <p:ext uri="{BB962C8B-B14F-4D97-AF65-F5344CB8AC3E}">
        <p14:creationId xmlns:p14="http://schemas.microsoft.com/office/powerpoint/2010/main" val="33103903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lang="en-US" sz="2750">
                <a:solidFill>
                  <a:srgbClr val="0069B4"/>
                </a:solidFill>
                <a:latin typeface="Calibri Light" panose="020F0302020204030204"/>
                <a:cs typeface="+mj-cs"/>
              </a:rPr>
              <a:t>Guiding coalition focus</a:t>
            </a:r>
            <a:endPar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endParaRPr>
          </a:p>
        </p:txBody>
      </p:sp>
      <p:sp>
        <p:nvSpPr>
          <p:cNvPr id="146" name="Freeform 39">
            <a:extLst>
              <a:ext uri="{FF2B5EF4-FFF2-40B4-BE49-F238E27FC236}">
                <a16:creationId xmlns:a16="http://schemas.microsoft.com/office/drawing/2014/main" id="{E7EDF801-E320-48D6-86B1-22DDE24A38D2}"/>
              </a:ext>
            </a:extLst>
          </p:cNvPr>
          <p:cNvSpPr>
            <a:spLocks/>
          </p:cNvSpPr>
          <p:nvPr/>
        </p:nvSpPr>
        <p:spPr bwMode="auto">
          <a:xfrm>
            <a:off x="1600621" y="1361551"/>
            <a:ext cx="1191892" cy="1350084"/>
          </a:xfrm>
          <a:custGeom>
            <a:avLst/>
            <a:gdLst>
              <a:gd name="T0" fmla="*/ 370 w 370"/>
              <a:gd name="T1" fmla="*/ 99 h 419"/>
              <a:gd name="T2" fmla="*/ 0 w 370"/>
              <a:gd name="T3" fmla="*/ 0 h 419"/>
              <a:gd name="T4" fmla="*/ 0 w 370"/>
              <a:gd name="T5" fmla="*/ 370 h 419"/>
              <a:gd name="T6" fmla="*/ 185 w 370"/>
              <a:gd name="T7" fmla="*/ 419 h 419"/>
              <a:gd name="T8" fmla="*/ 370 w 370"/>
              <a:gd name="T9" fmla="*/ 99 h 419"/>
            </a:gdLst>
            <a:ahLst/>
            <a:cxnLst>
              <a:cxn ang="0">
                <a:pos x="T0" y="T1"/>
              </a:cxn>
              <a:cxn ang="0">
                <a:pos x="T2" y="T3"/>
              </a:cxn>
              <a:cxn ang="0">
                <a:pos x="T4" y="T5"/>
              </a:cxn>
              <a:cxn ang="0">
                <a:pos x="T6" y="T7"/>
              </a:cxn>
              <a:cxn ang="0">
                <a:pos x="T8" y="T9"/>
              </a:cxn>
            </a:cxnLst>
            <a:rect l="0" t="0" r="r" b="b"/>
            <a:pathLst>
              <a:path w="370" h="419">
                <a:moveTo>
                  <a:pt x="370" y="99"/>
                </a:moveTo>
                <a:cubicBezTo>
                  <a:pt x="257" y="35"/>
                  <a:pt x="130" y="0"/>
                  <a:pt x="0" y="0"/>
                </a:cubicBezTo>
                <a:cubicBezTo>
                  <a:pt x="0" y="370"/>
                  <a:pt x="0" y="370"/>
                  <a:pt x="0" y="370"/>
                </a:cubicBezTo>
                <a:cubicBezTo>
                  <a:pt x="65" y="370"/>
                  <a:pt x="129" y="387"/>
                  <a:pt x="185" y="419"/>
                </a:cubicBezTo>
                <a:lnTo>
                  <a:pt x="370" y="99"/>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47" name="Freeform 40">
            <a:extLst>
              <a:ext uri="{FF2B5EF4-FFF2-40B4-BE49-F238E27FC236}">
                <a16:creationId xmlns:a16="http://schemas.microsoft.com/office/drawing/2014/main" id="{0C50E44E-BDE4-44D7-8AAF-46FF20661C94}"/>
              </a:ext>
            </a:extLst>
          </p:cNvPr>
          <p:cNvSpPr>
            <a:spLocks/>
          </p:cNvSpPr>
          <p:nvPr/>
        </p:nvSpPr>
        <p:spPr bwMode="auto">
          <a:xfrm>
            <a:off x="2196567" y="1680663"/>
            <a:ext cx="1466000" cy="1468728"/>
          </a:xfrm>
          <a:custGeom>
            <a:avLst/>
            <a:gdLst>
              <a:gd name="T0" fmla="*/ 455 w 455"/>
              <a:gd name="T1" fmla="*/ 271 h 456"/>
              <a:gd name="T2" fmla="*/ 185 w 455"/>
              <a:gd name="T3" fmla="*/ 0 h 456"/>
              <a:gd name="T4" fmla="*/ 0 w 455"/>
              <a:gd name="T5" fmla="*/ 320 h 456"/>
              <a:gd name="T6" fmla="*/ 135 w 455"/>
              <a:gd name="T7" fmla="*/ 456 h 456"/>
              <a:gd name="T8" fmla="*/ 455 w 455"/>
              <a:gd name="T9" fmla="*/ 271 h 456"/>
            </a:gdLst>
            <a:ahLst/>
            <a:cxnLst>
              <a:cxn ang="0">
                <a:pos x="T0" y="T1"/>
              </a:cxn>
              <a:cxn ang="0">
                <a:pos x="T2" y="T3"/>
              </a:cxn>
              <a:cxn ang="0">
                <a:pos x="T4" y="T5"/>
              </a:cxn>
              <a:cxn ang="0">
                <a:pos x="T6" y="T7"/>
              </a:cxn>
              <a:cxn ang="0">
                <a:pos x="T8" y="T9"/>
              </a:cxn>
            </a:cxnLst>
            <a:rect l="0" t="0" r="r" b="b"/>
            <a:pathLst>
              <a:path w="455" h="456">
                <a:moveTo>
                  <a:pt x="455" y="271"/>
                </a:moveTo>
                <a:cubicBezTo>
                  <a:pt x="390" y="159"/>
                  <a:pt x="297" y="65"/>
                  <a:pt x="185" y="0"/>
                </a:cubicBezTo>
                <a:cubicBezTo>
                  <a:pt x="0" y="320"/>
                  <a:pt x="0" y="320"/>
                  <a:pt x="0" y="320"/>
                </a:cubicBezTo>
                <a:cubicBezTo>
                  <a:pt x="56" y="353"/>
                  <a:pt x="103" y="399"/>
                  <a:pt x="135" y="456"/>
                </a:cubicBezTo>
                <a:lnTo>
                  <a:pt x="455" y="271"/>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48" name="Freeform 41">
            <a:extLst>
              <a:ext uri="{FF2B5EF4-FFF2-40B4-BE49-F238E27FC236}">
                <a16:creationId xmlns:a16="http://schemas.microsoft.com/office/drawing/2014/main" id="{C60F7368-6FB7-4357-B06E-68111AC44C49}"/>
              </a:ext>
            </a:extLst>
          </p:cNvPr>
          <p:cNvSpPr>
            <a:spLocks/>
          </p:cNvSpPr>
          <p:nvPr/>
        </p:nvSpPr>
        <p:spPr bwMode="auto">
          <a:xfrm>
            <a:off x="2631594" y="2553444"/>
            <a:ext cx="1350084" cy="1189166"/>
          </a:xfrm>
          <a:custGeom>
            <a:avLst/>
            <a:gdLst>
              <a:gd name="T0" fmla="*/ 419 w 419"/>
              <a:gd name="T1" fmla="*/ 369 h 369"/>
              <a:gd name="T2" fmla="*/ 320 w 419"/>
              <a:gd name="T3" fmla="*/ 0 h 369"/>
              <a:gd name="T4" fmla="*/ 0 w 419"/>
              <a:gd name="T5" fmla="*/ 185 h 369"/>
              <a:gd name="T6" fmla="*/ 50 w 419"/>
              <a:gd name="T7" fmla="*/ 369 h 369"/>
              <a:gd name="T8" fmla="*/ 419 w 419"/>
              <a:gd name="T9" fmla="*/ 369 h 369"/>
            </a:gdLst>
            <a:ahLst/>
            <a:cxnLst>
              <a:cxn ang="0">
                <a:pos x="T0" y="T1"/>
              </a:cxn>
              <a:cxn ang="0">
                <a:pos x="T2" y="T3"/>
              </a:cxn>
              <a:cxn ang="0">
                <a:pos x="T4" y="T5"/>
              </a:cxn>
              <a:cxn ang="0">
                <a:pos x="T6" y="T7"/>
              </a:cxn>
              <a:cxn ang="0">
                <a:pos x="T8" y="T9"/>
              </a:cxn>
            </a:cxnLst>
            <a:rect l="0" t="0" r="r" b="b"/>
            <a:pathLst>
              <a:path w="419" h="369">
                <a:moveTo>
                  <a:pt x="419" y="369"/>
                </a:moveTo>
                <a:cubicBezTo>
                  <a:pt x="419" y="240"/>
                  <a:pt x="385" y="112"/>
                  <a:pt x="320" y="0"/>
                </a:cubicBezTo>
                <a:cubicBezTo>
                  <a:pt x="0" y="185"/>
                  <a:pt x="0" y="185"/>
                  <a:pt x="0" y="185"/>
                </a:cubicBezTo>
                <a:cubicBezTo>
                  <a:pt x="33" y="241"/>
                  <a:pt x="50" y="304"/>
                  <a:pt x="50" y="369"/>
                </a:cubicBezTo>
                <a:lnTo>
                  <a:pt x="419" y="369"/>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49" name="Freeform 42">
            <a:extLst>
              <a:ext uri="{FF2B5EF4-FFF2-40B4-BE49-F238E27FC236}">
                <a16:creationId xmlns:a16="http://schemas.microsoft.com/office/drawing/2014/main" id="{E57C7E6B-1449-4ACD-841D-2B03C4400C17}"/>
              </a:ext>
            </a:extLst>
          </p:cNvPr>
          <p:cNvSpPr>
            <a:spLocks/>
          </p:cNvSpPr>
          <p:nvPr/>
        </p:nvSpPr>
        <p:spPr bwMode="auto">
          <a:xfrm>
            <a:off x="2631594" y="3742610"/>
            <a:ext cx="1350084" cy="1191892"/>
          </a:xfrm>
          <a:custGeom>
            <a:avLst/>
            <a:gdLst>
              <a:gd name="T0" fmla="*/ 320 w 419"/>
              <a:gd name="T1" fmla="*/ 370 h 370"/>
              <a:gd name="T2" fmla="*/ 419 w 419"/>
              <a:gd name="T3" fmla="*/ 0 h 370"/>
              <a:gd name="T4" fmla="*/ 50 w 419"/>
              <a:gd name="T5" fmla="*/ 0 h 370"/>
              <a:gd name="T6" fmla="*/ 0 w 419"/>
              <a:gd name="T7" fmla="*/ 185 h 370"/>
              <a:gd name="T8" fmla="*/ 320 w 419"/>
              <a:gd name="T9" fmla="*/ 370 h 370"/>
            </a:gdLst>
            <a:ahLst/>
            <a:cxnLst>
              <a:cxn ang="0">
                <a:pos x="T0" y="T1"/>
              </a:cxn>
              <a:cxn ang="0">
                <a:pos x="T2" y="T3"/>
              </a:cxn>
              <a:cxn ang="0">
                <a:pos x="T4" y="T5"/>
              </a:cxn>
              <a:cxn ang="0">
                <a:pos x="T6" y="T7"/>
              </a:cxn>
              <a:cxn ang="0">
                <a:pos x="T8" y="T9"/>
              </a:cxn>
            </a:cxnLst>
            <a:rect l="0" t="0" r="r" b="b"/>
            <a:pathLst>
              <a:path w="419" h="370">
                <a:moveTo>
                  <a:pt x="320" y="370"/>
                </a:moveTo>
                <a:cubicBezTo>
                  <a:pt x="385" y="257"/>
                  <a:pt x="419" y="130"/>
                  <a:pt x="419" y="0"/>
                </a:cubicBezTo>
                <a:cubicBezTo>
                  <a:pt x="50" y="0"/>
                  <a:pt x="50" y="0"/>
                  <a:pt x="50" y="0"/>
                </a:cubicBezTo>
                <a:cubicBezTo>
                  <a:pt x="50" y="65"/>
                  <a:pt x="33" y="129"/>
                  <a:pt x="0" y="185"/>
                </a:cubicBezTo>
                <a:lnTo>
                  <a:pt x="320" y="370"/>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54" name="Freeform 44">
            <a:extLst>
              <a:ext uri="{FF2B5EF4-FFF2-40B4-BE49-F238E27FC236}">
                <a16:creationId xmlns:a16="http://schemas.microsoft.com/office/drawing/2014/main" id="{0C870ED8-6752-47C4-ADBD-407B418CE00A}"/>
              </a:ext>
            </a:extLst>
          </p:cNvPr>
          <p:cNvSpPr>
            <a:spLocks/>
          </p:cNvSpPr>
          <p:nvPr/>
        </p:nvSpPr>
        <p:spPr bwMode="auto">
          <a:xfrm>
            <a:off x="1600621" y="4773583"/>
            <a:ext cx="1191892" cy="1350084"/>
          </a:xfrm>
          <a:custGeom>
            <a:avLst/>
            <a:gdLst>
              <a:gd name="T0" fmla="*/ 0 w 370"/>
              <a:gd name="T1" fmla="*/ 419 h 419"/>
              <a:gd name="T2" fmla="*/ 370 w 370"/>
              <a:gd name="T3" fmla="*/ 320 h 419"/>
              <a:gd name="T4" fmla="*/ 185 w 370"/>
              <a:gd name="T5" fmla="*/ 0 h 419"/>
              <a:gd name="T6" fmla="*/ 0 w 370"/>
              <a:gd name="T7" fmla="*/ 50 h 419"/>
              <a:gd name="T8" fmla="*/ 0 w 370"/>
              <a:gd name="T9" fmla="*/ 419 h 419"/>
            </a:gdLst>
            <a:ahLst/>
            <a:cxnLst>
              <a:cxn ang="0">
                <a:pos x="T0" y="T1"/>
              </a:cxn>
              <a:cxn ang="0">
                <a:pos x="T2" y="T3"/>
              </a:cxn>
              <a:cxn ang="0">
                <a:pos x="T4" y="T5"/>
              </a:cxn>
              <a:cxn ang="0">
                <a:pos x="T6" y="T7"/>
              </a:cxn>
              <a:cxn ang="0">
                <a:pos x="T8" y="T9"/>
              </a:cxn>
            </a:cxnLst>
            <a:rect l="0" t="0" r="r" b="b"/>
            <a:pathLst>
              <a:path w="370" h="419">
                <a:moveTo>
                  <a:pt x="0" y="419"/>
                </a:moveTo>
                <a:cubicBezTo>
                  <a:pt x="130" y="419"/>
                  <a:pt x="257" y="385"/>
                  <a:pt x="370" y="320"/>
                </a:cubicBezTo>
                <a:cubicBezTo>
                  <a:pt x="185" y="0"/>
                  <a:pt x="185" y="0"/>
                  <a:pt x="185" y="0"/>
                </a:cubicBezTo>
                <a:cubicBezTo>
                  <a:pt x="129" y="33"/>
                  <a:pt x="65" y="50"/>
                  <a:pt x="0" y="50"/>
                </a:cubicBezTo>
                <a:lnTo>
                  <a:pt x="0" y="419"/>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56" name="Freeform 45">
            <a:extLst>
              <a:ext uri="{FF2B5EF4-FFF2-40B4-BE49-F238E27FC236}">
                <a16:creationId xmlns:a16="http://schemas.microsoft.com/office/drawing/2014/main" id="{105047BC-216F-44E2-99FE-91B417F96B64}"/>
              </a:ext>
            </a:extLst>
          </p:cNvPr>
          <p:cNvSpPr>
            <a:spLocks/>
          </p:cNvSpPr>
          <p:nvPr/>
        </p:nvSpPr>
        <p:spPr bwMode="auto">
          <a:xfrm>
            <a:off x="609918" y="4773583"/>
            <a:ext cx="990702" cy="1350084"/>
          </a:xfrm>
          <a:custGeom>
            <a:avLst/>
            <a:gdLst/>
            <a:ahLst/>
            <a:cxnLst/>
            <a:rect l="l" t="t" r="r" b="b"/>
            <a:pathLst>
              <a:path w="976682" h="1330978">
                <a:moveTo>
                  <a:pt x="388925" y="0"/>
                </a:moveTo>
                <a:cubicBezTo>
                  <a:pt x="570018" y="104827"/>
                  <a:pt x="770173" y="158828"/>
                  <a:pt x="976682" y="158828"/>
                </a:cubicBezTo>
                <a:cubicBezTo>
                  <a:pt x="976682" y="158828"/>
                  <a:pt x="976682" y="158828"/>
                  <a:pt x="976682" y="1330978"/>
                </a:cubicBezTo>
                <a:cubicBezTo>
                  <a:pt x="637480" y="1330978"/>
                  <a:pt x="304707" y="1258131"/>
                  <a:pt x="0" y="1116588"/>
                </a:cubicBezTo>
                <a:lnTo>
                  <a:pt x="0" y="676284"/>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57" name="Freeform 46">
            <a:extLst>
              <a:ext uri="{FF2B5EF4-FFF2-40B4-BE49-F238E27FC236}">
                <a16:creationId xmlns:a16="http://schemas.microsoft.com/office/drawing/2014/main" id="{8AA23B23-2BA2-4586-A2E2-4757B86CCD9B}"/>
              </a:ext>
            </a:extLst>
          </p:cNvPr>
          <p:cNvSpPr>
            <a:spLocks/>
          </p:cNvSpPr>
          <p:nvPr/>
        </p:nvSpPr>
        <p:spPr bwMode="auto">
          <a:xfrm>
            <a:off x="609920" y="4398144"/>
            <a:ext cx="394755" cy="1061910"/>
          </a:xfrm>
          <a:custGeom>
            <a:avLst/>
            <a:gdLst/>
            <a:ahLst/>
            <a:cxnLst/>
            <a:rect l="l" t="t" r="r" b="b"/>
            <a:pathLst>
              <a:path w="389169" h="1046882">
                <a:moveTo>
                  <a:pt x="0" y="0"/>
                </a:moveTo>
                <a:cubicBezTo>
                  <a:pt x="99115" y="152754"/>
                  <a:pt x="231695" y="280082"/>
                  <a:pt x="389169" y="370067"/>
                </a:cubicBezTo>
                <a:cubicBezTo>
                  <a:pt x="389169" y="370067"/>
                  <a:pt x="389169" y="370067"/>
                  <a:pt x="0" y="1046882"/>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58" name="Freeform 49">
            <a:extLst>
              <a:ext uri="{FF2B5EF4-FFF2-40B4-BE49-F238E27FC236}">
                <a16:creationId xmlns:a16="http://schemas.microsoft.com/office/drawing/2014/main" id="{45EC7A04-AA43-46C7-8291-9ACA39BFCA5D}"/>
              </a:ext>
            </a:extLst>
          </p:cNvPr>
          <p:cNvSpPr>
            <a:spLocks/>
          </p:cNvSpPr>
          <p:nvPr/>
        </p:nvSpPr>
        <p:spPr bwMode="auto">
          <a:xfrm>
            <a:off x="609920" y="2025049"/>
            <a:ext cx="394755" cy="1064126"/>
          </a:xfrm>
          <a:custGeom>
            <a:avLst/>
            <a:gdLst/>
            <a:ahLst/>
            <a:cxnLst/>
            <a:rect l="l" t="t" r="r" b="b"/>
            <a:pathLst>
              <a:path w="389169" h="1049067">
                <a:moveTo>
                  <a:pt x="0" y="0"/>
                </a:moveTo>
                <a:lnTo>
                  <a:pt x="389169" y="676588"/>
                </a:lnTo>
                <a:cubicBezTo>
                  <a:pt x="231638" y="769388"/>
                  <a:pt x="99020" y="894563"/>
                  <a:pt x="0" y="1049067"/>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59" name="Freeform 50">
            <a:extLst>
              <a:ext uri="{FF2B5EF4-FFF2-40B4-BE49-F238E27FC236}">
                <a16:creationId xmlns:a16="http://schemas.microsoft.com/office/drawing/2014/main" id="{095D3647-EA56-4F59-9C3B-63F1AD41F652}"/>
              </a:ext>
            </a:extLst>
          </p:cNvPr>
          <p:cNvSpPr>
            <a:spLocks/>
          </p:cNvSpPr>
          <p:nvPr/>
        </p:nvSpPr>
        <p:spPr bwMode="auto">
          <a:xfrm>
            <a:off x="609918" y="1361551"/>
            <a:ext cx="990702" cy="1350084"/>
          </a:xfrm>
          <a:custGeom>
            <a:avLst/>
            <a:gdLst/>
            <a:ahLst/>
            <a:cxnLst/>
            <a:rect l="l" t="t" r="r" b="b"/>
            <a:pathLst>
              <a:path w="976682" h="1330978">
                <a:moveTo>
                  <a:pt x="976682" y="0"/>
                </a:moveTo>
                <a:lnTo>
                  <a:pt x="976682" y="1175327"/>
                </a:lnTo>
                <a:cubicBezTo>
                  <a:pt x="770173" y="1175327"/>
                  <a:pt x="570018" y="1229328"/>
                  <a:pt x="388925" y="1330978"/>
                </a:cubicBezTo>
                <a:cubicBezTo>
                  <a:pt x="388925" y="1330978"/>
                  <a:pt x="388925" y="1330978"/>
                  <a:pt x="0" y="654695"/>
                </a:cubicBezTo>
                <a:lnTo>
                  <a:pt x="0" y="215487"/>
                </a:lnTo>
                <a:cubicBezTo>
                  <a:pt x="304723" y="74986"/>
                  <a:pt x="637489" y="0"/>
                  <a:pt x="976682" y="0"/>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61" name="Oval 160">
            <a:extLst>
              <a:ext uri="{FF2B5EF4-FFF2-40B4-BE49-F238E27FC236}">
                <a16:creationId xmlns:a16="http://schemas.microsoft.com/office/drawing/2014/main" id="{CFB005E5-718A-44B8-AA53-78C5A839A590}"/>
              </a:ext>
            </a:extLst>
          </p:cNvPr>
          <p:cNvSpPr/>
          <p:nvPr/>
        </p:nvSpPr>
        <p:spPr>
          <a:xfrm>
            <a:off x="1477993" y="3619982"/>
            <a:ext cx="245255" cy="245255"/>
          </a:xfrm>
          <a:prstGeom prst="ellips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cxnSp>
        <p:nvCxnSpPr>
          <p:cNvPr id="163" name="Straight Arrow Connector 162">
            <a:extLst>
              <a:ext uri="{FF2B5EF4-FFF2-40B4-BE49-F238E27FC236}">
                <a16:creationId xmlns:a16="http://schemas.microsoft.com/office/drawing/2014/main" id="{AAE9A1E4-54E7-4D73-81DD-98A857C3EA65}"/>
              </a:ext>
            </a:extLst>
          </p:cNvPr>
          <p:cNvCxnSpPr>
            <a:stCxn id="161" idx="7"/>
          </p:cNvCxnSpPr>
          <p:nvPr/>
        </p:nvCxnSpPr>
        <p:spPr>
          <a:xfrm flipV="1">
            <a:off x="1687332" y="3047524"/>
            <a:ext cx="650426" cy="608374"/>
          </a:xfrm>
          <a:prstGeom prst="straightConnector1">
            <a:avLst/>
          </a:prstGeom>
          <a:ln w="76200" cap="flat" cmpd="sng" algn="ctr">
            <a:solidFill>
              <a:srgbClr val="7474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2DA26B6D-AD83-44B5-86D2-51DF5355A28C}"/>
              </a:ext>
            </a:extLst>
          </p:cNvPr>
          <p:cNvSpPr>
            <a:spLocks noChangeAspect="1"/>
          </p:cNvSpPr>
          <p:nvPr/>
        </p:nvSpPr>
        <p:spPr>
          <a:xfrm>
            <a:off x="2666469" y="2249389"/>
            <a:ext cx="462246" cy="462246"/>
          </a:xfrm>
          <a:prstGeom prst="ellipse">
            <a:avLst/>
          </a:prstGeom>
          <a:solidFill>
            <a:srgbClr val="0070C0"/>
          </a:solidFill>
        </p:spPr>
        <p:txBody>
          <a:bodyPr wrap="none" lIns="0" tIns="0" rIns="0" bIns="0" anchor="ctr">
            <a:noAutofit/>
          </a:bodyPr>
          <a:lstStyle/>
          <a:p>
            <a:pPr algn="ctr"/>
            <a:r>
              <a:rPr lang="en-US" sz="2000" b="1">
                <a:solidFill>
                  <a:srgbClr val="FFFFFF"/>
                </a:solidFill>
              </a:rPr>
              <a:t>1</a:t>
            </a:r>
          </a:p>
        </p:txBody>
      </p:sp>
      <p:sp>
        <p:nvSpPr>
          <p:cNvPr id="165" name="Oval 164">
            <a:extLst>
              <a:ext uri="{FF2B5EF4-FFF2-40B4-BE49-F238E27FC236}">
                <a16:creationId xmlns:a16="http://schemas.microsoft.com/office/drawing/2014/main" id="{5163B265-72C1-460F-8A8F-D4DA44D33745}"/>
              </a:ext>
            </a:extLst>
          </p:cNvPr>
          <p:cNvSpPr>
            <a:spLocks noChangeAspect="1"/>
          </p:cNvSpPr>
          <p:nvPr/>
        </p:nvSpPr>
        <p:spPr>
          <a:xfrm>
            <a:off x="3075743" y="3103915"/>
            <a:ext cx="462246" cy="462246"/>
          </a:xfrm>
          <a:prstGeom prst="ellipse">
            <a:avLst/>
          </a:prstGeom>
          <a:solidFill>
            <a:srgbClr val="0070C0"/>
          </a:solidFill>
        </p:spPr>
        <p:txBody>
          <a:bodyPr wrap="none" lIns="0" tIns="0" rIns="0" bIns="0" anchor="ctr">
            <a:noAutofit/>
          </a:bodyPr>
          <a:lstStyle/>
          <a:p>
            <a:pPr algn="ctr"/>
            <a:r>
              <a:rPr lang="en-US" sz="2000" b="1">
                <a:solidFill>
                  <a:srgbClr val="FFFFFF"/>
                </a:solidFill>
              </a:rPr>
              <a:t>2</a:t>
            </a:r>
          </a:p>
        </p:txBody>
      </p:sp>
      <p:sp>
        <p:nvSpPr>
          <p:cNvPr id="166" name="Oval 165">
            <a:extLst>
              <a:ext uri="{FF2B5EF4-FFF2-40B4-BE49-F238E27FC236}">
                <a16:creationId xmlns:a16="http://schemas.microsoft.com/office/drawing/2014/main" id="{FFFFFD34-A2FA-4DD8-833B-FB9AA82A21CA}"/>
              </a:ext>
            </a:extLst>
          </p:cNvPr>
          <p:cNvSpPr>
            <a:spLocks noChangeAspect="1"/>
          </p:cNvSpPr>
          <p:nvPr/>
        </p:nvSpPr>
        <p:spPr>
          <a:xfrm>
            <a:off x="3075743" y="3958441"/>
            <a:ext cx="462246" cy="462246"/>
          </a:xfrm>
          <a:prstGeom prst="ellipse">
            <a:avLst/>
          </a:prstGeom>
          <a:solidFill>
            <a:srgbClr val="0070C0"/>
          </a:solidFill>
        </p:spPr>
        <p:txBody>
          <a:bodyPr wrap="none" lIns="0" tIns="0" rIns="0" bIns="0" anchor="ctr">
            <a:noAutofit/>
          </a:bodyPr>
          <a:lstStyle/>
          <a:p>
            <a:pPr algn="ctr"/>
            <a:r>
              <a:rPr lang="en-US" sz="2000" b="1">
                <a:solidFill>
                  <a:srgbClr val="FFFFFF"/>
                </a:solidFill>
              </a:rPr>
              <a:t>3</a:t>
            </a:r>
          </a:p>
        </p:txBody>
      </p:sp>
      <p:sp>
        <p:nvSpPr>
          <p:cNvPr id="167" name="Freeform 43">
            <a:extLst>
              <a:ext uri="{FF2B5EF4-FFF2-40B4-BE49-F238E27FC236}">
                <a16:creationId xmlns:a16="http://schemas.microsoft.com/office/drawing/2014/main" id="{8592F1C9-0C9F-44C4-BC8E-0DD9345261FA}"/>
              </a:ext>
            </a:extLst>
          </p:cNvPr>
          <p:cNvSpPr>
            <a:spLocks/>
          </p:cNvSpPr>
          <p:nvPr/>
        </p:nvSpPr>
        <p:spPr bwMode="auto">
          <a:xfrm>
            <a:off x="2196567" y="4338556"/>
            <a:ext cx="1466000" cy="1466000"/>
          </a:xfrm>
          <a:custGeom>
            <a:avLst/>
            <a:gdLst>
              <a:gd name="T0" fmla="*/ 185 w 455"/>
              <a:gd name="T1" fmla="*/ 455 h 455"/>
              <a:gd name="T2" fmla="*/ 455 w 455"/>
              <a:gd name="T3" fmla="*/ 185 h 455"/>
              <a:gd name="T4" fmla="*/ 135 w 455"/>
              <a:gd name="T5" fmla="*/ 0 h 455"/>
              <a:gd name="T6" fmla="*/ 0 w 455"/>
              <a:gd name="T7" fmla="*/ 135 h 455"/>
              <a:gd name="T8" fmla="*/ 185 w 455"/>
              <a:gd name="T9" fmla="*/ 455 h 455"/>
            </a:gdLst>
            <a:ahLst/>
            <a:cxnLst>
              <a:cxn ang="0">
                <a:pos x="T0" y="T1"/>
              </a:cxn>
              <a:cxn ang="0">
                <a:pos x="T2" y="T3"/>
              </a:cxn>
              <a:cxn ang="0">
                <a:pos x="T4" y="T5"/>
              </a:cxn>
              <a:cxn ang="0">
                <a:pos x="T6" y="T7"/>
              </a:cxn>
              <a:cxn ang="0">
                <a:pos x="T8" y="T9"/>
              </a:cxn>
            </a:cxnLst>
            <a:rect l="0" t="0" r="r" b="b"/>
            <a:pathLst>
              <a:path w="455" h="455">
                <a:moveTo>
                  <a:pt x="185" y="455"/>
                </a:moveTo>
                <a:cubicBezTo>
                  <a:pt x="297" y="390"/>
                  <a:pt x="390" y="297"/>
                  <a:pt x="455" y="185"/>
                </a:cubicBezTo>
                <a:cubicBezTo>
                  <a:pt x="135" y="0"/>
                  <a:pt x="135" y="0"/>
                  <a:pt x="135" y="0"/>
                </a:cubicBezTo>
                <a:cubicBezTo>
                  <a:pt x="103" y="56"/>
                  <a:pt x="56" y="103"/>
                  <a:pt x="0" y="135"/>
                </a:cubicBezTo>
                <a:lnTo>
                  <a:pt x="185" y="455"/>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68" name="Oval 167">
            <a:extLst>
              <a:ext uri="{FF2B5EF4-FFF2-40B4-BE49-F238E27FC236}">
                <a16:creationId xmlns:a16="http://schemas.microsoft.com/office/drawing/2014/main" id="{DBB8B8BD-7FDA-4A4F-92B2-B2DC68C62F52}"/>
              </a:ext>
            </a:extLst>
          </p:cNvPr>
          <p:cNvSpPr>
            <a:spLocks noChangeAspect="1"/>
          </p:cNvSpPr>
          <p:nvPr/>
        </p:nvSpPr>
        <p:spPr>
          <a:xfrm>
            <a:off x="2666469" y="4812968"/>
            <a:ext cx="462246" cy="462246"/>
          </a:xfrm>
          <a:prstGeom prst="ellipse">
            <a:avLst/>
          </a:prstGeom>
          <a:solidFill>
            <a:srgbClr val="0070C0"/>
          </a:solidFill>
        </p:spPr>
        <p:txBody>
          <a:bodyPr wrap="none" lIns="0" tIns="0" rIns="0" bIns="0" anchor="ctr">
            <a:noAutofit/>
          </a:bodyPr>
          <a:lstStyle/>
          <a:p>
            <a:pPr algn="ctr"/>
            <a:r>
              <a:rPr lang="en-US" sz="2000" b="1">
                <a:solidFill>
                  <a:srgbClr val="FFFFFF"/>
                </a:solidFill>
              </a:rPr>
              <a:t>4</a:t>
            </a:r>
          </a:p>
        </p:txBody>
      </p:sp>
      <p:sp>
        <p:nvSpPr>
          <p:cNvPr id="170" name="Left-Right Arrow 37">
            <a:extLst>
              <a:ext uri="{FF2B5EF4-FFF2-40B4-BE49-F238E27FC236}">
                <a16:creationId xmlns:a16="http://schemas.microsoft.com/office/drawing/2014/main" id="{9C5DB20B-0844-48A5-9D72-01E0E0B79F45}"/>
              </a:ext>
            </a:extLst>
          </p:cNvPr>
          <p:cNvSpPr/>
          <p:nvPr/>
        </p:nvSpPr>
        <p:spPr>
          <a:xfrm>
            <a:off x="5010559" y="1826084"/>
            <a:ext cx="3414071"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400" b="1">
                <a:solidFill>
                  <a:schemeClr val="tx1"/>
                </a:solidFill>
              </a:rPr>
              <a:t>Translate the data strategy into a Roadmap</a:t>
            </a:r>
            <a:endParaRPr lang="en-US" sz="1400">
              <a:solidFill>
                <a:schemeClr val="tx1"/>
              </a:solidFill>
            </a:endParaRPr>
          </a:p>
        </p:txBody>
      </p:sp>
      <p:cxnSp>
        <p:nvCxnSpPr>
          <p:cNvPr id="171" name="Straight Connector 170">
            <a:extLst>
              <a:ext uri="{FF2B5EF4-FFF2-40B4-BE49-F238E27FC236}">
                <a16:creationId xmlns:a16="http://schemas.microsoft.com/office/drawing/2014/main" id="{3D6AA3F2-1994-4A30-A078-CE1D864418D6}"/>
              </a:ext>
            </a:extLst>
          </p:cNvPr>
          <p:cNvCxnSpPr>
            <a:cxnSpLocks/>
          </p:cNvCxnSpPr>
          <p:nvPr/>
        </p:nvCxnSpPr>
        <p:spPr>
          <a:xfrm>
            <a:off x="4212000" y="2095977"/>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E6579862-0658-4517-A4C0-3D13A99F54D8}"/>
              </a:ext>
            </a:extLst>
          </p:cNvPr>
          <p:cNvSpPr/>
          <p:nvPr/>
        </p:nvSpPr>
        <p:spPr>
          <a:xfrm>
            <a:off x="5001440" y="2030510"/>
            <a:ext cx="4371816" cy="75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endParaRPr lang="en-US" sz="1100">
              <a:solidFill>
                <a:schemeClr val="tx1"/>
              </a:solidFill>
            </a:endParaRPr>
          </a:p>
          <a:p>
            <a:r>
              <a:rPr lang="en-US" sz="1100">
                <a:solidFill>
                  <a:schemeClr val="tx1"/>
                </a:solidFill>
              </a:rPr>
              <a:t>Prioritize all use cases that support data objectives on a roadmap  through a series of workshops with stakeholders.  Plot all uses cases on a execution plan with a supporting budget.</a:t>
            </a:r>
          </a:p>
          <a:p>
            <a:endParaRPr lang="en-US" sz="1200">
              <a:solidFill>
                <a:schemeClr val="tx1"/>
              </a:solidFill>
            </a:endParaRPr>
          </a:p>
        </p:txBody>
      </p:sp>
      <p:sp>
        <p:nvSpPr>
          <p:cNvPr id="184" name="TextBox 183">
            <a:extLst>
              <a:ext uri="{FF2B5EF4-FFF2-40B4-BE49-F238E27FC236}">
                <a16:creationId xmlns:a16="http://schemas.microsoft.com/office/drawing/2014/main" id="{FB2D30DD-3316-41CC-8189-665DD9215DED}"/>
              </a:ext>
            </a:extLst>
          </p:cNvPr>
          <p:cNvSpPr txBox="1"/>
          <p:nvPr/>
        </p:nvSpPr>
        <p:spPr>
          <a:xfrm>
            <a:off x="9639981" y="1844189"/>
            <a:ext cx="2074197" cy="276697"/>
          </a:xfrm>
          <a:prstGeom prst="rect">
            <a:avLst/>
          </a:prstGeom>
          <a:noFill/>
        </p:spPr>
        <p:txBody>
          <a:bodyPr wrap="square" lIns="0">
            <a:spAutoFit/>
          </a:bodyPr>
          <a:lstStyle/>
          <a:p>
            <a:r>
              <a:rPr lang="en-US" sz="1400" b="1"/>
              <a:t>Time Horizon </a:t>
            </a:r>
            <a:endParaRPr lang="en-US" sz="1400"/>
          </a:p>
        </p:txBody>
      </p:sp>
      <p:sp>
        <p:nvSpPr>
          <p:cNvPr id="185" name="Left-Right Arrow 37">
            <a:extLst>
              <a:ext uri="{FF2B5EF4-FFF2-40B4-BE49-F238E27FC236}">
                <a16:creationId xmlns:a16="http://schemas.microsoft.com/office/drawing/2014/main" id="{B33F3846-28D4-470A-AC19-333D18B1D392}"/>
              </a:ext>
            </a:extLst>
          </p:cNvPr>
          <p:cNvSpPr/>
          <p:nvPr/>
        </p:nvSpPr>
        <p:spPr>
          <a:xfrm>
            <a:off x="9720000" y="2238989"/>
            <a:ext cx="1937422"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100">
                <a:solidFill>
                  <a:schemeClr val="tx1"/>
                </a:solidFill>
              </a:rPr>
              <a:t>4 months</a:t>
            </a:r>
          </a:p>
        </p:txBody>
      </p:sp>
      <p:sp>
        <p:nvSpPr>
          <p:cNvPr id="186" name="Freeform 2">
            <a:extLst>
              <a:ext uri="{FF2B5EF4-FFF2-40B4-BE49-F238E27FC236}">
                <a16:creationId xmlns:a16="http://schemas.microsoft.com/office/drawing/2014/main" id="{CA777ACE-8C14-4F09-A255-A95175FEB340}"/>
              </a:ext>
            </a:extLst>
          </p:cNvPr>
          <p:cNvSpPr/>
          <p:nvPr/>
        </p:nvSpPr>
        <p:spPr>
          <a:xfrm>
            <a:off x="11140382" y="1573733"/>
            <a:ext cx="440450" cy="404927"/>
          </a:xfrm>
          <a:custGeom>
            <a:avLst/>
            <a:gdLst>
              <a:gd name="connsiteX0" fmla="*/ 2951105 w 3347997"/>
              <a:gd name="connsiteY0" fmla="*/ 222660 h 3451739"/>
              <a:gd name="connsiteX1" fmla="*/ 2468479 w 3347997"/>
              <a:gd name="connsiteY1" fmla="*/ 222660 h 3451739"/>
              <a:gd name="connsiteX2" fmla="*/ 2468479 w 3347997"/>
              <a:gd name="connsiteY2" fmla="*/ 95140 h 3451739"/>
              <a:gd name="connsiteX3" fmla="*/ 2373339 w 3347997"/>
              <a:gd name="connsiteY3" fmla="*/ 0 h 3451739"/>
              <a:gd name="connsiteX4" fmla="*/ 2278159 w 3347997"/>
              <a:gd name="connsiteY4" fmla="*/ 95140 h 3451739"/>
              <a:gd name="connsiteX5" fmla="*/ 2278159 w 3347997"/>
              <a:gd name="connsiteY5" fmla="*/ 222660 h 3451739"/>
              <a:gd name="connsiteX6" fmla="*/ 1069877 w 3347997"/>
              <a:gd name="connsiteY6" fmla="*/ 222660 h 3451739"/>
              <a:gd name="connsiteX7" fmla="*/ 1069877 w 3347997"/>
              <a:gd name="connsiteY7" fmla="*/ 95140 h 3451739"/>
              <a:gd name="connsiteX8" fmla="*/ 974698 w 3347997"/>
              <a:gd name="connsiteY8" fmla="*/ 0 h 3451739"/>
              <a:gd name="connsiteX9" fmla="*/ 879568 w 3347997"/>
              <a:gd name="connsiteY9" fmla="*/ 95140 h 3451739"/>
              <a:gd name="connsiteX10" fmla="*/ 879568 w 3347997"/>
              <a:gd name="connsiteY10" fmla="*/ 222660 h 3451739"/>
              <a:gd name="connsiteX11" fmla="*/ 396941 w 3347997"/>
              <a:gd name="connsiteY11" fmla="*/ 222660 h 3451739"/>
              <a:gd name="connsiteX12" fmla="*/ 116380 w 3347997"/>
              <a:gd name="connsiteY12" fmla="*/ 339040 h 3451739"/>
              <a:gd name="connsiteX13" fmla="*/ 0 w 3347997"/>
              <a:gd name="connsiteY13" fmla="*/ 619562 h 3451739"/>
              <a:gd name="connsiteX14" fmla="*/ 0 w 3347997"/>
              <a:gd name="connsiteY14" fmla="*/ 3054837 h 3451739"/>
              <a:gd name="connsiteX15" fmla="*/ 116380 w 3347997"/>
              <a:gd name="connsiteY15" fmla="*/ 3335359 h 3451739"/>
              <a:gd name="connsiteX16" fmla="*/ 396941 w 3347997"/>
              <a:gd name="connsiteY16" fmla="*/ 3451739 h 3451739"/>
              <a:gd name="connsiteX17" fmla="*/ 2951056 w 3347997"/>
              <a:gd name="connsiteY17" fmla="*/ 3451739 h 3451739"/>
              <a:gd name="connsiteX18" fmla="*/ 3231617 w 3347997"/>
              <a:gd name="connsiteY18" fmla="*/ 3335359 h 3451739"/>
              <a:gd name="connsiteX19" fmla="*/ 3347998 w 3347997"/>
              <a:gd name="connsiteY19" fmla="*/ 3054837 h 3451739"/>
              <a:gd name="connsiteX20" fmla="*/ 3347998 w 3347997"/>
              <a:gd name="connsiteY20" fmla="*/ 619562 h 3451739"/>
              <a:gd name="connsiteX21" fmla="*/ 3231617 w 3347997"/>
              <a:gd name="connsiteY21" fmla="*/ 339040 h 3451739"/>
              <a:gd name="connsiteX22" fmla="*/ 2951056 w 3347997"/>
              <a:gd name="connsiteY22" fmla="*/ 222660 h 3451739"/>
              <a:gd name="connsiteX23" fmla="*/ 190368 w 3347997"/>
              <a:gd name="connsiteY23" fmla="*/ 619562 h 3451739"/>
              <a:gd name="connsiteX24" fmla="*/ 250954 w 3347997"/>
              <a:gd name="connsiteY24" fmla="*/ 473565 h 3451739"/>
              <a:gd name="connsiteX25" fmla="*/ 396990 w 3347997"/>
              <a:gd name="connsiteY25" fmla="*/ 412979 h 3451739"/>
              <a:gd name="connsiteX26" fmla="*/ 879617 w 3347997"/>
              <a:gd name="connsiteY26" fmla="*/ 412979 h 3451739"/>
              <a:gd name="connsiteX27" fmla="*/ 879617 w 3347997"/>
              <a:gd name="connsiteY27" fmla="*/ 540499 h 3451739"/>
              <a:gd name="connsiteX28" fmla="*/ 974747 w 3347997"/>
              <a:gd name="connsiteY28" fmla="*/ 635639 h 3451739"/>
              <a:gd name="connsiteX29" fmla="*/ 1069927 w 3347997"/>
              <a:gd name="connsiteY29" fmla="*/ 540499 h 3451739"/>
              <a:gd name="connsiteX30" fmla="*/ 1069927 w 3347997"/>
              <a:gd name="connsiteY30" fmla="*/ 412979 h 3451739"/>
              <a:gd name="connsiteX31" fmla="*/ 2278208 w 3347997"/>
              <a:gd name="connsiteY31" fmla="*/ 412979 h 3451739"/>
              <a:gd name="connsiteX32" fmla="*/ 2278208 w 3347997"/>
              <a:gd name="connsiteY32" fmla="*/ 540499 h 3451739"/>
              <a:gd name="connsiteX33" fmla="*/ 2278169 w 3347997"/>
              <a:gd name="connsiteY33" fmla="*/ 540499 h 3451739"/>
              <a:gd name="connsiteX34" fmla="*/ 2373348 w 3347997"/>
              <a:gd name="connsiteY34" fmla="*/ 635639 h 3451739"/>
              <a:gd name="connsiteX35" fmla="*/ 2468488 w 3347997"/>
              <a:gd name="connsiteY35" fmla="*/ 540499 h 3451739"/>
              <a:gd name="connsiteX36" fmla="*/ 2468488 w 3347997"/>
              <a:gd name="connsiteY36" fmla="*/ 412979 h 3451739"/>
              <a:gd name="connsiteX37" fmla="*/ 2951115 w 3347997"/>
              <a:gd name="connsiteY37" fmla="*/ 412979 h 3451739"/>
              <a:gd name="connsiteX38" fmla="*/ 3097151 w 3347997"/>
              <a:gd name="connsiteY38" fmla="*/ 473565 h 3451739"/>
              <a:gd name="connsiteX39" fmla="*/ 3157737 w 3347997"/>
              <a:gd name="connsiteY39" fmla="*/ 619562 h 3451739"/>
              <a:gd name="connsiteX40" fmla="*/ 3157737 w 3347997"/>
              <a:gd name="connsiteY40" fmla="*/ 1194144 h 3451739"/>
              <a:gd name="connsiteX41" fmla="*/ 190378 w 3347997"/>
              <a:gd name="connsiteY41" fmla="*/ 1194144 h 3451739"/>
              <a:gd name="connsiteX42" fmla="*/ 2951105 w 3347997"/>
              <a:gd name="connsiteY42" fmla="*/ 3261851 h 3451739"/>
              <a:gd name="connsiteX43" fmla="*/ 396990 w 3347997"/>
              <a:gd name="connsiteY43" fmla="*/ 3261851 h 3451739"/>
              <a:gd name="connsiteX44" fmla="*/ 250797 w 3347997"/>
              <a:gd name="connsiteY44" fmla="*/ 3201118 h 3451739"/>
              <a:gd name="connsiteX45" fmla="*/ 190368 w 3347997"/>
              <a:gd name="connsiteY45" fmla="*/ 3054808 h 3451739"/>
              <a:gd name="connsiteX46" fmla="*/ 190368 w 3347997"/>
              <a:gd name="connsiteY46" fmla="*/ 1383220 h 3451739"/>
              <a:gd name="connsiteX47" fmla="*/ 3157727 w 3347997"/>
              <a:gd name="connsiteY47" fmla="*/ 1383220 h 3451739"/>
              <a:gd name="connsiteX48" fmla="*/ 3157727 w 3347997"/>
              <a:gd name="connsiteY48" fmla="*/ 3054808 h 3451739"/>
              <a:gd name="connsiteX49" fmla="*/ 3097298 w 3347997"/>
              <a:gd name="connsiteY49" fmla="*/ 3201118 h 3451739"/>
              <a:gd name="connsiteX50" fmla="*/ 2951105 w 3347997"/>
              <a:gd name="connsiteY50" fmla="*/ 3261851 h 345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47997" h="3451739">
                <a:moveTo>
                  <a:pt x="2951105" y="222660"/>
                </a:moveTo>
                <a:lnTo>
                  <a:pt x="2468479" y="222660"/>
                </a:lnTo>
                <a:lnTo>
                  <a:pt x="2468479" y="95140"/>
                </a:lnTo>
                <a:cubicBezTo>
                  <a:pt x="2468479" y="42598"/>
                  <a:pt x="2425880" y="0"/>
                  <a:pt x="2373339" y="0"/>
                </a:cubicBezTo>
                <a:cubicBezTo>
                  <a:pt x="2320796" y="0"/>
                  <a:pt x="2278159" y="42598"/>
                  <a:pt x="2278159" y="95140"/>
                </a:cubicBezTo>
                <a:lnTo>
                  <a:pt x="2278159" y="222660"/>
                </a:lnTo>
                <a:lnTo>
                  <a:pt x="1069877" y="222660"/>
                </a:lnTo>
                <a:lnTo>
                  <a:pt x="1069877" y="95140"/>
                </a:lnTo>
                <a:cubicBezTo>
                  <a:pt x="1069877" y="42598"/>
                  <a:pt x="1027250" y="0"/>
                  <a:pt x="974698" y="0"/>
                </a:cubicBezTo>
                <a:cubicBezTo>
                  <a:pt x="922156" y="0"/>
                  <a:pt x="879568" y="42598"/>
                  <a:pt x="879568" y="95140"/>
                </a:cubicBezTo>
                <a:lnTo>
                  <a:pt x="879568" y="222660"/>
                </a:lnTo>
                <a:lnTo>
                  <a:pt x="396941" y="222660"/>
                </a:lnTo>
                <a:cubicBezTo>
                  <a:pt x="291700" y="222777"/>
                  <a:pt x="190819" y="264641"/>
                  <a:pt x="116380" y="339040"/>
                </a:cubicBezTo>
                <a:cubicBezTo>
                  <a:pt x="41981" y="413439"/>
                  <a:pt x="118" y="514321"/>
                  <a:pt x="0" y="619562"/>
                </a:cubicBezTo>
                <a:lnTo>
                  <a:pt x="0" y="3054837"/>
                </a:lnTo>
                <a:cubicBezTo>
                  <a:pt x="108" y="3160078"/>
                  <a:pt x="41981" y="3260959"/>
                  <a:pt x="116380" y="3335359"/>
                </a:cubicBezTo>
                <a:cubicBezTo>
                  <a:pt x="190809" y="3409798"/>
                  <a:pt x="291700" y="3451622"/>
                  <a:pt x="396941" y="3451739"/>
                </a:cubicBezTo>
                <a:lnTo>
                  <a:pt x="2951056" y="3451739"/>
                </a:lnTo>
                <a:cubicBezTo>
                  <a:pt x="3056297" y="3451622"/>
                  <a:pt x="3157178" y="3409798"/>
                  <a:pt x="3231617" y="3335359"/>
                </a:cubicBezTo>
                <a:cubicBezTo>
                  <a:pt x="3306007" y="3260959"/>
                  <a:pt x="3347880" y="3160078"/>
                  <a:pt x="3347998" y="3054837"/>
                </a:cubicBezTo>
                <a:lnTo>
                  <a:pt x="3347998" y="619562"/>
                </a:lnTo>
                <a:cubicBezTo>
                  <a:pt x="3347880" y="514321"/>
                  <a:pt x="3306007" y="413439"/>
                  <a:pt x="3231617" y="339040"/>
                </a:cubicBezTo>
                <a:cubicBezTo>
                  <a:pt x="3157178" y="264641"/>
                  <a:pt x="3056297" y="222777"/>
                  <a:pt x="2951056" y="222660"/>
                </a:cubicBezTo>
                <a:close/>
                <a:moveTo>
                  <a:pt x="190368" y="619562"/>
                </a:moveTo>
                <a:cubicBezTo>
                  <a:pt x="190447" y="564796"/>
                  <a:pt x="212216" y="512293"/>
                  <a:pt x="250954" y="473565"/>
                </a:cubicBezTo>
                <a:cubicBezTo>
                  <a:pt x="289682" y="434836"/>
                  <a:pt x="342185" y="413018"/>
                  <a:pt x="396990" y="412979"/>
                </a:cubicBezTo>
                <a:lnTo>
                  <a:pt x="879617" y="412979"/>
                </a:lnTo>
                <a:lnTo>
                  <a:pt x="879617" y="540499"/>
                </a:lnTo>
                <a:cubicBezTo>
                  <a:pt x="879617" y="593051"/>
                  <a:pt x="922205" y="635639"/>
                  <a:pt x="974747" y="635639"/>
                </a:cubicBezTo>
                <a:cubicBezTo>
                  <a:pt x="1027299" y="635639"/>
                  <a:pt x="1069927" y="593051"/>
                  <a:pt x="1069927" y="540499"/>
                </a:cubicBezTo>
                <a:lnTo>
                  <a:pt x="1069927" y="412979"/>
                </a:lnTo>
                <a:lnTo>
                  <a:pt x="2278208" y="412979"/>
                </a:lnTo>
                <a:lnTo>
                  <a:pt x="2278208" y="540499"/>
                </a:lnTo>
                <a:lnTo>
                  <a:pt x="2278169" y="540499"/>
                </a:lnTo>
                <a:cubicBezTo>
                  <a:pt x="2278169" y="593051"/>
                  <a:pt x="2320806" y="635639"/>
                  <a:pt x="2373348" y="635639"/>
                </a:cubicBezTo>
                <a:cubicBezTo>
                  <a:pt x="2425890" y="635639"/>
                  <a:pt x="2468488" y="593051"/>
                  <a:pt x="2468488" y="540499"/>
                </a:cubicBezTo>
                <a:lnTo>
                  <a:pt x="2468488" y="412979"/>
                </a:lnTo>
                <a:lnTo>
                  <a:pt x="2951115" y="412979"/>
                </a:lnTo>
                <a:cubicBezTo>
                  <a:pt x="3005920" y="413018"/>
                  <a:pt x="3058423" y="434836"/>
                  <a:pt x="3097151" y="473565"/>
                </a:cubicBezTo>
                <a:cubicBezTo>
                  <a:pt x="3135879" y="512293"/>
                  <a:pt x="3157659" y="564805"/>
                  <a:pt x="3157737" y="619562"/>
                </a:cubicBezTo>
                <a:lnTo>
                  <a:pt x="3157737" y="1194144"/>
                </a:lnTo>
                <a:lnTo>
                  <a:pt x="190378" y="1194144"/>
                </a:lnTo>
                <a:close/>
                <a:moveTo>
                  <a:pt x="2951105" y="3261851"/>
                </a:moveTo>
                <a:lnTo>
                  <a:pt x="396990" y="3261851"/>
                </a:lnTo>
                <a:cubicBezTo>
                  <a:pt x="342107" y="3261773"/>
                  <a:pt x="289525" y="3239925"/>
                  <a:pt x="250797" y="3201118"/>
                </a:cubicBezTo>
                <a:cubicBezTo>
                  <a:pt x="212069" y="3162273"/>
                  <a:pt x="190329" y="3109652"/>
                  <a:pt x="190368" y="3054808"/>
                </a:cubicBezTo>
                <a:lnTo>
                  <a:pt x="190368" y="1383220"/>
                </a:lnTo>
                <a:lnTo>
                  <a:pt x="3157727" y="1383220"/>
                </a:lnTo>
                <a:lnTo>
                  <a:pt x="3157727" y="3054808"/>
                </a:lnTo>
                <a:cubicBezTo>
                  <a:pt x="3157766" y="3109652"/>
                  <a:pt x="3136026" y="3162273"/>
                  <a:pt x="3097298" y="3201118"/>
                </a:cubicBezTo>
                <a:cubicBezTo>
                  <a:pt x="3058570" y="3239925"/>
                  <a:pt x="3005989" y="3261773"/>
                  <a:pt x="2951105" y="3261851"/>
                </a:cubicBezTo>
                <a:close/>
              </a:path>
            </a:pathLst>
          </a:custGeom>
          <a:solidFill>
            <a:srgbClr val="0070C0"/>
          </a:solidFill>
          <a:ln w="9797" cap="flat">
            <a:noFill/>
            <a:prstDash val="solid"/>
            <a:miter/>
          </a:ln>
        </p:spPr>
        <p:txBody>
          <a:bodyPr rtlCol="0" anchor="ctr"/>
          <a:lstStyle/>
          <a:p>
            <a:endParaRPr lang="de-AT"/>
          </a:p>
        </p:txBody>
      </p:sp>
      <p:grpSp>
        <p:nvGrpSpPr>
          <p:cNvPr id="286" name="Group 285">
            <a:extLst>
              <a:ext uri="{FF2B5EF4-FFF2-40B4-BE49-F238E27FC236}">
                <a16:creationId xmlns:a16="http://schemas.microsoft.com/office/drawing/2014/main" id="{2DA538D6-363F-4168-90F6-BDEE19EF6139}"/>
              </a:ext>
            </a:extLst>
          </p:cNvPr>
          <p:cNvGrpSpPr/>
          <p:nvPr>
            <p:custDataLst>
              <p:tags r:id="rId2"/>
            </p:custDataLst>
          </p:nvPr>
        </p:nvGrpSpPr>
        <p:grpSpPr>
          <a:xfrm>
            <a:off x="4336999" y="1511291"/>
            <a:ext cx="385548" cy="544957"/>
            <a:chOff x="3514633" y="1561908"/>
            <a:chExt cx="2867674" cy="3724368"/>
          </a:xfrm>
          <a:solidFill>
            <a:schemeClr val="accent1"/>
          </a:solidFill>
        </p:grpSpPr>
        <p:sp>
          <p:nvSpPr>
            <p:cNvPr id="287" name="Freeform: Shape 286">
              <a:extLst>
                <a:ext uri="{FF2B5EF4-FFF2-40B4-BE49-F238E27FC236}">
                  <a16:creationId xmlns:a16="http://schemas.microsoft.com/office/drawing/2014/main" id="{47D45D2A-1A57-4BCD-B0F9-7C3E171EB6A1}"/>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9FF2DC07-6B8A-45FB-A739-9C2195DADD79}"/>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89" name="Freeform: Shape 288">
              <a:extLst>
                <a:ext uri="{FF2B5EF4-FFF2-40B4-BE49-F238E27FC236}">
                  <a16:creationId xmlns:a16="http://schemas.microsoft.com/office/drawing/2014/main" id="{0843558E-1891-4508-8201-E0093FA9E79C}"/>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691482C9-A97A-4A54-853A-A013BDCDB94C}"/>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AFD917BA-D805-49FB-926B-A6E3B7D4BCAE}"/>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39EDB331-0B74-48CC-8A7F-66875F532010}"/>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3" name="Freeform: Shape 292">
              <a:extLst>
                <a:ext uri="{FF2B5EF4-FFF2-40B4-BE49-F238E27FC236}">
                  <a16:creationId xmlns:a16="http://schemas.microsoft.com/office/drawing/2014/main" id="{6ADFBF81-1642-4F5E-84FD-C655B859A790}"/>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B9148E73-51F5-4C8C-BA27-533AD6F8E3FC}"/>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EC5E8005-BB89-4A35-BD75-A6A59BF84CDA}"/>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589ABD4C-36C8-4A86-B4AD-FB6B9359FFA7}"/>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CE162B3F-93C9-4831-A4D4-15D3E35EE5A7}"/>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441CA45E-27FC-43ED-A5CF-3317C0DF79FC}"/>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16A24D57-74B6-4A36-98FB-DD37F9FF5931}"/>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FF9A176F-9B7E-4A17-AC8E-A71442699DBF}"/>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99D59040-EA3D-46BA-82A2-7350352A2C80}"/>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B741D283-3335-4430-A954-7E18F8627D09}"/>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959FC058-D87A-4AF6-9902-0E9EE3527D24}"/>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E1A3114F-14AE-4CA8-90BD-17AAC8074345}"/>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CD13FC2-4332-4E98-809A-B727FC2A31C1}"/>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EB430582-CEF8-4DE2-92E9-B07464E13D7F}"/>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grpSp>
      <p:sp>
        <p:nvSpPr>
          <p:cNvPr id="178" name="Left-Right Arrow 79">
            <a:extLst>
              <a:ext uri="{FF2B5EF4-FFF2-40B4-BE49-F238E27FC236}">
                <a16:creationId xmlns:a16="http://schemas.microsoft.com/office/drawing/2014/main" id="{4209B312-D2EC-43B1-9ABB-E1B0B45D7F1B}"/>
              </a:ext>
            </a:extLst>
          </p:cNvPr>
          <p:cNvSpPr/>
          <p:nvPr/>
        </p:nvSpPr>
        <p:spPr>
          <a:xfrm>
            <a:off x="5010558" y="3812067"/>
            <a:ext cx="3414071" cy="25904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400" b="1">
                <a:solidFill>
                  <a:schemeClr val="tx1"/>
                </a:solidFill>
              </a:rPr>
              <a:t>Relaunch data governance program</a:t>
            </a:r>
            <a:endParaRPr lang="en-US" sz="1400">
              <a:solidFill>
                <a:schemeClr val="tx1"/>
              </a:solidFill>
            </a:endParaRPr>
          </a:p>
        </p:txBody>
      </p:sp>
      <p:sp>
        <p:nvSpPr>
          <p:cNvPr id="180" name="Rectangle 179">
            <a:extLst>
              <a:ext uri="{FF2B5EF4-FFF2-40B4-BE49-F238E27FC236}">
                <a16:creationId xmlns:a16="http://schemas.microsoft.com/office/drawing/2014/main" id="{9555DCED-0F66-460F-A36C-F2B45462E831}"/>
              </a:ext>
            </a:extLst>
          </p:cNvPr>
          <p:cNvSpPr/>
          <p:nvPr/>
        </p:nvSpPr>
        <p:spPr>
          <a:xfrm>
            <a:off x="5010558" y="4163281"/>
            <a:ext cx="4347320"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100">
                <a:solidFill>
                  <a:schemeClr val="tx1"/>
                </a:solidFill>
              </a:rPr>
              <a:t>Re-launch Data Governance in the organization by transforming the guiding collation into a data governance council, embedding ownership/stewardship in the business and establishing standards/principles/policies/best practices. </a:t>
            </a:r>
          </a:p>
        </p:txBody>
      </p:sp>
      <p:sp>
        <p:nvSpPr>
          <p:cNvPr id="188" name="Left-Right Arrow 37">
            <a:extLst>
              <a:ext uri="{FF2B5EF4-FFF2-40B4-BE49-F238E27FC236}">
                <a16:creationId xmlns:a16="http://schemas.microsoft.com/office/drawing/2014/main" id="{09B43461-4A24-4CEC-B4E4-3A395BC8B06D}"/>
              </a:ext>
            </a:extLst>
          </p:cNvPr>
          <p:cNvSpPr/>
          <p:nvPr/>
        </p:nvSpPr>
        <p:spPr>
          <a:xfrm>
            <a:off x="9720000" y="4156300"/>
            <a:ext cx="1797226"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100">
                <a:solidFill>
                  <a:schemeClr val="tx1"/>
                </a:solidFill>
              </a:rPr>
              <a:t>4 months</a:t>
            </a:r>
          </a:p>
        </p:txBody>
      </p:sp>
      <p:grpSp>
        <p:nvGrpSpPr>
          <p:cNvPr id="317" name="Group 316">
            <a:extLst>
              <a:ext uri="{FF2B5EF4-FFF2-40B4-BE49-F238E27FC236}">
                <a16:creationId xmlns:a16="http://schemas.microsoft.com/office/drawing/2014/main" id="{EAE8EAD1-9A90-42CA-AC83-5125C1B24EB7}"/>
              </a:ext>
            </a:extLst>
          </p:cNvPr>
          <p:cNvGrpSpPr/>
          <p:nvPr>
            <p:custDataLst>
              <p:tags r:id="rId3"/>
            </p:custDataLst>
          </p:nvPr>
        </p:nvGrpSpPr>
        <p:grpSpPr>
          <a:xfrm>
            <a:off x="4262086" y="3467093"/>
            <a:ext cx="618071" cy="550079"/>
            <a:chOff x="8485188" y="781247"/>
            <a:chExt cx="688975" cy="712788"/>
          </a:xfrm>
          <a:solidFill>
            <a:schemeClr val="accent1"/>
          </a:solidFill>
        </p:grpSpPr>
        <p:sp>
          <p:nvSpPr>
            <p:cNvPr id="318" name="Freeform: Shape 317">
              <a:extLst>
                <a:ext uri="{FF2B5EF4-FFF2-40B4-BE49-F238E27FC236}">
                  <a16:creationId xmlns:a16="http://schemas.microsoft.com/office/drawing/2014/main" id="{85F47533-D702-4E07-A959-236ECFD50E40}"/>
                </a:ext>
              </a:extLst>
            </p:cNvPr>
            <p:cNvSpPr>
              <a:spLocks/>
            </p:cNvSpPr>
            <p:nvPr/>
          </p:nvSpPr>
          <p:spPr bwMode="auto">
            <a:xfrm>
              <a:off x="8615437" y="919259"/>
              <a:ext cx="423716" cy="403643"/>
            </a:xfrm>
            <a:custGeom>
              <a:avLst/>
              <a:gdLst>
                <a:gd name="connsiteX0" fmla="*/ 175881 w 423715"/>
                <a:gd name="connsiteY0" fmla="*/ 156516 h 403643"/>
                <a:gd name="connsiteX1" fmla="*/ 211858 w 423715"/>
                <a:gd name="connsiteY1" fmla="*/ 309533 h 403643"/>
                <a:gd name="connsiteX2" fmla="*/ 211858 w 423715"/>
                <a:gd name="connsiteY2" fmla="*/ 192949 h 403643"/>
                <a:gd name="connsiteX3" fmla="*/ 175881 w 423715"/>
                <a:gd name="connsiteY3" fmla="*/ 156516 h 403643"/>
                <a:gd name="connsiteX4" fmla="*/ 211902 w 423715"/>
                <a:gd name="connsiteY4" fmla="*/ 0 h 403643"/>
                <a:gd name="connsiteX5" fmla="*/ 226855 w 423715"/>
                <a:gd name="connsiteY5" fmla="*/ 9224 h 403643"/>
                <a:gd name="connsiteX6" fmla="*/ 279400 w 423715"/>
                <a:gd name="connsiteY6" fmla="*/ 115611 h 403643"/>
                <a:gd name="connsiteX7" fmla="*/ 291956 w 423715"/>
                <a:gd name="connsiteY7" fmla="*/ 124544 h 403643"/>
                <a:gd name="connsiteX8" fmla="*/ 409487 w 423715"/>
                <a:gd name="connsiteY8" fmla="*/ 141715 h 403643"/>
                <a:gd name="connsiteX9" fmla="*/ 418671 w 423715"/>
                <a:gd name="connsiteY9" fmla="*/ 169907 h 403643"/>
                <a:gd name="connsiteX10" fmla="*/ 333574 w 423715"/>
                <a:gd name="connsiteY10" fmla="*/ 252743 h 403643"/>
                <a:gd name="connsiteX11" fmla="*/ 328808 w 423715"/>
                <a:gd name="connsiteY11" fmla="*/ 267361 h 403643"/>
                <a:gd name="connsiteX12" fmla="*/ 348919 w 423715"/>
                <a:gd name="connsiteY12" fmla="*/ 384306 h 403643"/>
                <a:gd name="connsiteX13" fmla="*/ 324739 w 423715"/>
                <a:gd name="connsiteY13" fmla="*/ 401708 h 403643"/>
                <a:gd name="connsiteX14" fmla="*/ 219531 w 423715"/>
                <a:gd name="connsiteY14" fmla="*/ 346600 h 403643"/>
                <a:gd name="connsiteX15" fmla="*/ 204069 w 423715"/>
                <a:gd name="connsiteY15" fmla="*/ 346600 h 403643"/>
                <a:gd name="connsiteX16" fmla="*/ 98861 w 423715"/>
                <a:gd name="connsiteY16" fmla="*/ 401708 h 403643"/>
                <a:gd name="connsiteX17" fmla="*/ 74797 w 423715"/>
                <a:gd name="connsiteY17" fmla="*/ 384306 h 403643"/>
                <a:gd name="connsiteX18" fmla="*/ 94908 w 423715"/>
                <a:gd name="connsiteY18" fmla="*/ 267361 h 403643"/>
                <a:gd name="connsiteX19" fmla="*/ 90026 w 423715"/>
                <a:gd name="connsiteY19" fmla="*/ 252743 h 403643"/>
                <a:gd name="connsiteX20" fmla="*/ 5045 w 423715"/>
                <a:gd name="connsiteY20" fmla="*/ 169907 h 403643"/>
                <a:gd name="connsiteX21" fmla="*/ 14229 w 423715"/>
                <a:gd name="connsiteY21" fmla="*/ 141599 h 403643"/>
                <a:gd name="connsiteX22" fmla="*/ 131760 w 423715"/>
                <a:gd name="connsiteY22" fmla="*/ 124544 h 403643"/>
                <a:gd name="connsiteX23" fmla="*/ 144316 w 423715"/>
                <a:gd name="connsiteY23" fmla="*/ 115495 h 403643"/>
                <a:gd name="connsiteX24" fmla="*/ 196861 w 423715"/>
                <a:gd name="connsiteY24" fmla="*/ 9224 h 403643"/>
                <a:gd name="connsiteX25" fmla="*/ 211902 w 423715"/>
                <a:gd name="connsiteY25" fmla="*/ 0 h 40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3715" h="403643">
                  <a:moveTo>
                    <a:pt x="175881" y="156516"/>
                  </a:moveTo>
                  <a:cubicBezTo>
                    <a:pt x="134135" y="149230"/>
                    <a:pt x="92845" y="222095"/>
                    <a:pt x="211858" y="309533"/>
                  </a:cubicBezTo>
                  <a:cubicBezTo>
                    <a:pt x="370542" y="192949"/>
                    <a:pt x="244243" y="102272"/>
                    <a:pt x="211858" y="192949"/>
                  </a:cubicBezTo>
                  <a:cubicBezTo>
                    <a:pt x="203762" y="170280"/>
                    <a:pt x="189796" y="158945"/>
                    <a:pt x="175881" y="156516"/>
                  </a:cubicBezTo>
                  <a:close/>
                  <a:moveTo>
                    <a:pt x="211902" y="0"/>
                  </a:moveTo>
                  <a:cubicBezTo>
                    <a:pt x="217845" y="0"/>
                    <a:pt x="223774" y="3075"/>
                    <a:pt x="226855" y="9224"/>
                  </a:cubicBezTo>
                  <a:lnTo>
                    <a:pt x="279400" y="115611"/>
                  </a:lnTo>
                  <a:cubicBezTo>
                    <a:pt x="281842" y="120484"/>
                    <a:pt x="286492" y="123848"/>
                    <a:pt x="291956" y="124544"/>
                  </a:cubicBezTo>
                  <a:lnTo>
                    <a:pt x="409487" y="141715"/>
                  </a:lnTo>
                  <a:cubicBezTo>
                    <a:pt x="423088" y="143687"/>
                    <a:pt x="428552" y="160394"/>
                    <a:pt x="418671" y="169907"/>
                  </a:cubicBezTo>
                  <a:lnTo>
                    <a:pt x="333574" y="252743"/>
                  </a:lnTo>
                  <a:cubicBezTo>
                    <a:pt x="329738" y="256571"/>
                    <a:pt x="327994" y="262024"/>
                    <a:pt x="328808" y="267361"/>
                  </a:cubicBezTo>
                  <a:lnTo>
                    <a:pt x="348919" y="384306"/>
                  </a:lnTo>
                  <a:cubicBezTo>
                    <a:pt x="351244" y="397764"/>
                    <a:pt x="336945" y="408089"/>
                    <a:pt x="324739" y="401708"/>
                  </a:cubicBezTo>
                  <a:lnTo>
                    <a:pt x="219531" y="346600"/>
                  </a:lnTo>
                  <a:cubicBezTo>
                    <a:pt x="214764" y="344164"/>
                    <a:pt x="208952" y="344164"/>
                    <a:pt x="204069" y="346600"/>
                  </a:cubicBezTo>
                  <a:lnTo>
                    <a:pt x="98861" y="401708"/>
                  </a:lnTo>
                  <a:cubicBezTo>
                    <a:pt x="86654" y="408089"/>
                    <a:pt x="72472" y="397764"/>
                    <a:pt x="74797" y="384306"/>
                  </a:cubicBezTo>
                  <a:lnTo>
                    <a:pt x="94908" y="267361"/>
                  </a:lnTo>
                  <a:cubicBezTo>
                    <a:pt x="95722" y="262024"/>
                    <a:pt x="93978" y="256455"/>
                    <a:pt x="90026" y="252743"/>
                  </a:cubicBezTo>
                  <a:lnTo>
                    <a:pt x="5045" y="169907"/>
                  </a:lnTo>
                  <a:cubicBezTo>
                    <a:pt x="-4836" y="160394"/>
                    <a:pt x="628" y="143687"/>
                    <a:pt x="14229" y="141599"/>
                  </a:cubicBezTo>
                  <a:lnTo>
                    <a:pt x="131760" y="124544"/>
                  </a:lnTo>
                  <a:cubicBezTo>
                    <a:pt x="137108" y="123848"/>
                    <a:pt x="141758" y="120368"/>
                    <a:pt x="144316" y="115495"/>
                  </a:cubicBezTo>
                  <a:lnTo>
                    <a:pt x="196861" y="9224"/>
                  </a:lnTo>
                  <a:cubicBezTo>
                    <a:pt x="200000" y="3075"/>
                    <a:pt x="205958" y="0"/>
                    <a:pt x="211902" y="0"/>
                  </a:cubicBezTo>
                  <a:close/>
                </a:path>
              </a:pathLst>
            </a:custGeom>
            <a:grpFill/>
            <a:ln w="269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de-DE"/>
            </a:p>
          </p:txBody>
        </p:sp>
        <p:sp>
          <p:nvSpPr>
            <p:cNvPr id="319" name="Freeform 68">
              <a:extLst>
                <a:ext uri="{FF2B5EF4-FFF2-40B4-BE49-F238E27FC236}">
                  <a16:creationId xmlns:a16="http://schemas.microsoft.com/office/drawing/2014/main" id="{1054FD57-1C54-44B2-B630-4EE933F7944D}"/>
                </a:ext>
              </a:extLst>
            </p:cNvPr>
            <p:cNvSpPr>
              <a:spLocks/>
            </p:cNvSpPr>
            <p:nvPr/>
          </p:nvSpPr>
          <p:spPr bwMode="auto">
            <a:xfrm>
              <a:off x="8816975" y="781247"/>
              <a:ext cx="20638" cy="103188"/>
            </a:xfrm>
            <a:custGeom>
              <a:avLst/>
              <a:gdLst>
                <a:gd name="T0" fmla="*/ 93 w 185"/>
                <a:gd name="T1" fmla="*/ 891 h 891"/>
                <a:gd name="T2" fmla="*/ 93 w 185"/>
                <a:gd name="T3" fmla="*/ 891 h 891"/>
                <a:gd name="T4" fmla="*/ 0 w 185"/>
                <a:gd name="T5" fmla="*/ 799 h 891"/>
                <a:gd name="T6" fmla="*/ 0 w 185"/>
                <a:gd name="T7" fmla="*/ 93 h 891"/>
                <a:gd name="T8" fmla="*/ 93 w 185"/>
                <a:gd name="T9" fmla="*/ 0 h 891"/>
                <a:gd name="T10" fmla="*/ 93 w 185"/>
                <a:gd name="T11" fmla="*/ 0 h 891"/>
                <a:gd name="T12" fmla="*/ 185 w 185"/>
                <a:gd name="T13" fmla="*/ 93 h 891"/>
                <a:gd name="T14" fmla="*/ 185 w 185"/>
                <a:gd name="T15" fmla="*/ 799 h 891"/>
                <a:gd name="T16" fmla="*/ 93 w 185"/>
                <a:gd name="T17" fmla="*/ 891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891">
                  <a:moveTo>
                    <a:pt x="93" y="891"/>
                  </a:moveTo>
                  <a:lnTo>
                    <a:pt x="93" y="891"/>
                  </a:lnTo>
                  <a:cubicBezTo>
                    <a:pt x="41" y="891"/>
                    <a:pt x="0" y="850"/>
                    <a:pt x="0" y="799"/>
                  </a:cubicBezTo>
                  <a:lnTo>
                    <a:pt x="0" y="93"/>
                  </a:lnTo>
                  <a:cubicBezTo>
                    <a:pt x="0" y="41"/>
                    <a:pt x="42" y="0"/>
                    <a:pt x="93" y="0"/>
                  </a:cubicBezTo>
                  <a:lnTo>
                    <a:pt x="93" y="0"/>
                  </a:lnTo>
                  <a:cubicBezTo>
                    <a:pt x="144" y="0"/>
                    <a:pt x="185" y="41"/>
                    <a:pt x="185" y="93"/>
                  </a:cubicBezTo>
                  <a:lnTo>
                    <a:pt x="185" y="799"/>
                  </a:lnTo>
                  <a:cubicBezTo>
                    <a:pt x="185" y="850"/>
                    <a:pt x="143" y="891"/>
                    <a:pt x="93" y="8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0" name="Freeform 69">
              <a:extLst>
                <a:ext uri="{FF2B5EF4-FFF2-40B4-BE49-F238E27FC236}">
                  <a16:creationId xmlns:a16="http://schemas.microsoft.com/office/drawing/2014/main" id="{C8444DCE-CD20-48D6-A6C8-8E8065BB35EF}"/>
                </a:ext>
              </a:extLst>
            </p:cNvPr>
            <p:cNvSpPr>
              <a:spLocks/>
            </p:cNvSpPr>
            <p:nvPr/>
          </p:nvSpPr>
          <p:spPr bwMode="auto">
            <a:xfrm>
              <a:off x="8485188" y="1019372"/>
              <a:ext cx="103188" cy="44450"/>
            </a:xfrm>
            <a:custGeom>
              <a:avLst/>
              <a:gdLst>
                <a:gd name="T0" fmla="*/ 875 w 889"/>
                <a:gd name="T1" fmla="*/ 310 h 388"/>
                <a:gd name="T2" fmla="*/ 875 w 889"/>
                <a:gd name="T3" fmla="*/ 310 h 388"/>
                <a:gd name="T4" fmla="*/ 761 w 889"/>
                <a:gd name="T5" fmla="*/ 375 h 388"/>
                <a:gd name="T6" fmla="*/ 79 w 889"/>
                <a:gd name="T7" fmla="*/ 192 h 388"/>
                <a:gd name="T8" fmla="*/ 14 w 889"/>
                <a:gd name="T9" fmla="*/ 78 h 388"/>
                <a:gd name="T10" fmla="*/ 14 w 889"/>
                <a:gd name="T11" fmla="*/ 78 h 388"/>
                <a:gd name="T12" fmla="*/ 128 w 889"/>
                <a:gd name="T13" fmla="*/ 13 h 388"/>
                <a:gd name="T14" fmla="*/ 810 w 889"/>
                <a:gd name="T15" fmla="*/ 196 h 388"/>
                <a:gd name="T16" fmla="*/ 875 w 889"/>
                <a:gd name="T17" fmla="*/ 31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9" h="388">
                  <a:moveTo>
                    <a:pt x="875" y="310"/>
                  </a:moveTo>
                  <a:lnTo>
                    <a:pt x="875" y="310"/>
                  </a:lnTo>
                  <a:cubicBezTo>
                    <a:pt x="861" y="358"/>
                    <a:pt x="811" y="388"/>
                    <a:pt x="761" y="375"/>
                  </a:cubicBezTo>
                  <a:lnTo>
                    <a:pt x="79" y="192"/>
                  </a:lnTo>
                  <a:cubicBezTo>
                    <a:pt x="30" y="178"/>
                    <a:pt x="0" y="128"/>
                    <a:pt x="14" y="78"/>
                  </a:cubicBezTo>
                  <a:lnTo>
                    <a:pt x="14" y="78"/>
                  </a:lnTo>
                  <a:cubicBezTo>
                    <a:pt x="28" y="30"/>
                    <a:pt x="78" y="0"/>
                    <a:pt x="128" y="13"/>
                  </a:cubicBezTo>
                  <a:lnTo>
                    <a:pt x="810" y="196"/>
                  </a:lnTo>
                  <a:cubicBezTo>
                    <a:pt x="859" y="210"/>
                    <a:pt x="889" y="260"/>
                    <a:pt x="875"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1" name="Freeform 70">
              <a:extLst>
                <a:ext uri="{FF2B5EF4-FFF2-40B4-BE49-F238E27FC236}">
                  <a16:creationId xmlns:a16="http://schemas.microsoft.com/office/drawing/2014/main" id="{91CC80F7-F278-4333-88AB-E45F81CF7474}"/>
                </a:ext>
              </a:extLst>
            </p:cNvPr>
            <p:cNvSpPr>
              <a:spLocks/>
            </p:cNvSpPr>
            <p:nvPr/>
          </p:nvSpPr>
          <p:spPr bwMode="auto">
            <a:xfrm>
              <a:off x="8604250" y="852685"/>
              <a:ext cx="109538" cy="120650"/>
            </a:xfrm>
            <a:custGeom>
              <a:avLst/>
              <a:gdLst>
                <a:gd name="T0" fmla="*/ 912 w 953"/>
                <a:gd name="T1" fmla="*/ 1004 h 1038"/>
                <a:gd name="T2" fmla="*/ 912 w 953"/>
                <a:gd name="T3" fmla="*/ 1004 h 1038"/>
                <a:gd name="T4" fmla="*/ 780 w 953"/>
                <a:gd name="T5" fmla="*/ 996 h 1038"/>
                <a:gd name="T6" fmla="*/ 34 w 953"/>
                <a:gd name="T7" fmla="*/ 165 h 1038"/>
                <a:gd name="T8" fmla="*/ 42 w 953"/>
                <a:gd name="T9" fmla="*/ 34 h 1038"/>
                <a:gd name="T10" fmla="*/ 42 w 953"/>
                <a:gd name="T11" fmla="*/ 34 h 1038"/>
                <a:gd name="T12" fmla="*/ 173 w 953"/>
                <a:gd name="T13" fmla="*/ 41 h 1038"/>
                <a:gd name="T14" fmla="*/ 920 w 953"/>
                <a:gd name="T15" fmla="*/ 873 h 1038"/>
                <a:gd name="T16" fmla="*/ 912 w 953"/>
                <a:gd name="T17" fmla="*/ 100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3" h="1038">
                  <a:moveTo>
                    <a:pt x="912" y="1004"/>
                  </a:moveTo>
                  <a:lnTo>
                    <a:pt x="912" y="1004"/>
                  </a:lnTo>
                  <a:cubicBezTo>
                    <a:pt x="874" y="1038"/>
                    <a:pt x="815" y="1035"/>
                    <a:pt x="780" y="996"/>
                  </a:cubicBezTo>
                  <a:lnTo>
                    <a:pt x="34" y="165"/>
                  </a:lnTo>
                  <a:cubicBezTo>
                    <a:pt x="0" y="128"/>
                    <a:pt x="3" y="69"/>
                    <a:pt x="42" y="34"/>
                  </a:cubicBezTo>
                  <a:lnTo>
                    <a:pt x="42" y="34"/>
                  </a:lnTo>
                  <a:cubicBezTo>
                    <a:pt x="79" y="0"/>
                    <a:pt x="138" y="3"/>
                    <a:pt x="173" y="41"/>
                  </a:cubicBezTo>
                  <a:lnTo>
                    <a:pt x="920" y="873"/>
                  </a:lnTo>
                  <a:cubicBezTo>
                    <a:pt x="953" y="911"/>
                    <a:pt x="950" y="970"/>
                    <a:pt x="912" y="10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2" name="Freeform 71">
              <a:extLst>
                <a:ext uri="{FF2B5EF4-FFF2-40B4-BE49-F238E27FC236}">
                  <a16:creationId xmlns:a16="http://schemas.microsoft.com/office/drawing/2014/main" id="{76067BD1-2EE7-4766-87A5-EC2FE46BF734}"/>
                </a:ext>
              </a:extLst>
            </p:cNvPr>
            <p:cNvSpPr>
              <a:spLocks/>
            </p:cNvSpPr>
            <p:nvPr/>
          </p:nvSpPr>
          <p:spPr bwMode="auto">
            <a:xfrm>
              <a:off x="8493125" y="1197172"/>
              <a:ext cx="141288" cy="79375"/>
            </a:xfrm>
            <a:custGeom>
              <a:avLst/>
              <a:gdLst>
                <a:gd name="T0" fmla="*/ 1202 w 1223"/>
                <a:gd name="T1" fmla="*/ 66 h 681"/>
                <a:gd name="T2" fmla="*/ 1202 w 1223"/>
                <a:gd name="T3" fmla="*/ 66 h 681"/>
                <a:gd name="T4" fmla="*/ 1157 w 1223"/>
                <a:gd name="T5" fmla="*/ 189 h 681"/>
                <a:gd name="T6" fmla="*/ 143 w 1223"/>
                <a:gd name="T7" fmla="*/ 660 h 681"/>
                <a:gd name="T8" fmla="*/ 21 w 1223"/>
                <a:gd name="T9" fmla="*/ 615 h 681"/>
                <a:gd name="T10" fmla="*/ 21 w 1223"/>
                <a:gd name="T11" fmla="*/ 615 h 681"/>
                <a:gd name="T12" fmla="*/ 66 w 1223"/>
                <a:gd name="T13" fmla="*/ 493 h 681"/>
                <a:gd name="T14" fmla="*/ 1080 w 1223"/>
                <a:gd name="T15" fmla="*/ 21 h 681"/>
                <a:gd name="T16" fmla="*/ 1202 w 1223"/>
                <a:gd name="T17" fmla="*/ 66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3" h="681">
                  <a:moveTo>
                    <a:pt x="1202" y="66"/>
                  </a:moveTo>
                  <a:lnTo>
                    <a:pt x="1202" y="66"/>
                  </a:lnTo>
                  <a:cubicBezTo>
                    <a:pt x="1223" y="113"/>
                    <a:pt x="1203" y="168"/>
                    <a:pt x="1157" y="189"/>
                  </a:cubicBezTo>
                  <a:lnTo>
                    <a:pt x="143" y="660"/>
                  </a:lnTo>
                  <a:cubicBezTo>
                    <a:pt x="97" y="681"/>
                    <a:pt x="42" y="661"/>
                    <a:pt x="21" y="615"/>
                  </a:cubicBezTo>
                  <a:lnTo>
                    <a:pt x="21" y="615"/>
                  </a:lnTo>
                  <a:cubicBezTo>
                    <a:pt x="0" y="569"/>
                    <a:pt x="20" y="514"/>
                    <a:pt x="66" y="493"/>
                  </a:cubicBezTo>
                  <a:lnTo>
                    <a:pt x="1080" y="21"/>
                  </a:lnTo>
                  <a:cubicBezTo>
                    <a:pt x="1125" y="0"/>
                    <a:pt x="1181" y="20"/>
                    <a:pt x="1202"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3" name="Freeform 72">
              <a:extLst>
                <a:ext uri="{FF2B5EF4-FFF2-40B4-BE49-F238E27FC236}">
                  <a16:creationId xmlns:a16="http://schemas.microsoft.com/office/drawing/2014/main" id="{57D168D0-0C7E-4872-9B82-B865CB0705DA}"/>
                </a:ext>
              </a:extLst>
            </p:cNvPr>
            <p:cNvSpPr>
              <a:spLocks/>
            </p:cNvSpPr>
            <p:nvPr/>
          </p:nvSpPr>
          <p:spPr bwMode="auto">
            <a:xfrm>
              <a:off x="8956675" y="854272"/>
              <a:ext cx="111125" cy="120650"/>
            </a:xfrm>
            <a:custGeom>
              <a:avLst/>
              <a:gdLst>
                <a:gd name="T0" fmla="*/ 41 w 954"/>
                <a:gd name="T1" fmla="*/ 1004 h 1038"/>
                <a:gd name="T2" fmla="*/ 41 w 954"/>
                <a:gd name="T3" fmla="*/ 1004 h 1038"/>
                <a:gd name="T4" fmla="*/ 173 w 954"/>
                <a:gd name="T5" fmla="*/ 997 h 1038"/>
                <a:gd name="T6" fmla="*/ 920 w 954"/>
                <a:gd name="T7" fmla="*/ 165 h 1038"/>
                <a:gd name="T8" fmla="*/ 913 w 954"/>
                <a:gd name="T9" fmla="*/ 34 h 1038"/>
                <a:gd name="T10" fmla="*/ 913 w 954"/>
                <a:gd name="T11" fmla="*/ 34 h 1038"/>
                <a:gd name="T12" fmla="*/ 781 w 954"/>
                <a:gd name="T13" fmla="*/ 42 h 1038"/>
                <a:gd name="T14" fmla="*/ 34 w 954"/>
                <a:gd name="T15" fmla="*/ 873 h 1038"/>
                <a:gd name="T16" fmla="*/ 41 w 954"/>
                <a:gd name="T17" fmla="*/ 100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1038">
                  <a:moveTo>
                    <a:pt x="41" y="1004"/>
                  </a:moveTo>
                  <a:lnTo>
                    <a:pt x="41" y="1004"/>
                  </a:lnTo>
                  <a:cubicBezTo>
                    <a:pt x="79" y="1038"/>
                    <a:pt x="138" y="1035"/>
                    <a:pt x="173" y="997"/>
                  </a:cubicBezTo>
                  <a:lnTo>
                    <a:pt x="920" y="165"/>
                  </a:lnTo>
                  <a:cubicBezTo>
                    <a:pt x="954" y="128"/>
                    <a:pt x="951" y="69"/>
                    <a:pt x="913" y="34"/>
                  </a:cubicBezTo>
                  <a:lnTo>
                    <a:pt x="913" y="34"/>
                  </a:lnTo>
                  <a:cubicBezTo>
                    <a:pt x="875" y="0"/>
                    <a:pt x="816" y="3"/>
                    <a:pt x="781" y="42"/>
                  </a:cubicBezTo>
                  <a:lnTo>
                    <a:pt x="34" y="873"/>
                  </a:lnTo>
                  <a:cubicBezTo>
                    <a:pt x="0" y="912"/>
                    <a:pt x="4" y="970"/>
                    <a:pt x="41" y="10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4" name="Freeform 73">
              <a:extLst>
                <a:ext uri="{FF2B5EF4-FFF2-40B4-BE49-F238E27FC236}">
                  <a16:creationId xmlns:a16="http://schemas.microsoft.com/office/drawing/2014/main" id="{F47A6542-9242-4FE3-923D-BDEC4C5467C3}"/>
                </a:ext>
              </a:extLst>
            </p:cNvPr>
            <p:cNvSpPr>
              <a:spLocks/>
            </p:cNvSpPr>
            <p:nvPr/>
          </p:nvSpPr>
          <p:spPr bwMode="auto">
            <a:xfrm>
              <a:off x="9031288" y="1192410"/>
              <a:ext cx="142875" cy="79375"/>
            </a:xfrm>
            <a:custGeom>
              <a:avLst/>
              <a:gdLst>
                <a:gd name="T0" fmla="*/ 21 w 1223"/>
                <a:gd name="T1" fmla="*/ 66 h 681"/>
                <a:gd name="T2" fmla="*/ 21 w 1223"/>
                <a:gd name="T3" fmla="*/ 66 h 681"/>
                <a:gd name="T4" fmla="*/ 66 w 1223"/>
                <a:gd name="T5" fmla="*/ 189 h 681"/>
                <a:gd name="T6" fmla="*/ 1080 w 1223"/>
                <a:gd name="T7" fmla="*/ 660 h 681"/>
                <a:gd name="T8" fmla="*/ 1202 w 1223"/>
                <a:gd name="T9" fmla="*/ 615 h 681"/>
                <a:gd name="T10" fmla="*/ 1202 w 1223"/>
                <a:gd name="T11" fmla="*/ 615 h 681"/>
                <a:gd name="T12" fmla="*/ 1157 w 1223"/>
                <a:gd name="T13" fmla="*/ 493 h 681"/>
                <a:gd name="T14" fmla="*/ 143 w 1223"/>
                <a:gd name="T15" fmla="*/ 21 h 681"/>
                <a:gd name="T16" fmla="*/ 21 w 1223"/>
                <a:gd name="T17" fmla="*/ 66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3" h="681">
                  <a:moveTo>
                    <a:pt x="21" y="66"/>
                  </a:moveTo>
                  <a:lnTo>
                    <a:pt x="21" y="66"/>
                  </a:lnTo>
                  <a:cubicBezTo>
                    <a:pt x="0" y="113"/>
                    <a:pt x="20" y="168"/>
                    <a:pt x="66" y="189"/>
                  </a:cubicBezTo>
                  <a:lnTo>
                    <a:pt x="1080" y="660"/>
                  </a:lnTo>
                  <a:cubicBezTo>
                    <a:pt x="1126" y="681"/>
                    <a:pt x="1181" y="661"/>
                    <a:pt x="1202" y="615"/>
                  </a:cubicBezTo>
                  <a:lnTo>
                    <a:pt x="1202" y="615"/>
                  </a:lnTo>
                  <a:cubicBezTo>
                    <a:pt x="1223" y="569"/>
                    <a:pt x="1203" y="514"/>
                    <a:pt x="1157" y="493"/>
                  </a:cubicBezTo>
                  <a:lnTo>
                    <a:pt x="143" y="21"/>
                  </a:lnTo>
                  <a:cubicBezTo>
                    <a:pt x="97" y="0"/>
                    <a:pt x="42" y="20"/>
                    <a:pt x="21"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5" name="Freeform 74">
              <a:extLst>
                <a:ext uri="{FF2B5EF4-FFF2-40B4-BE49-F238E27FC236}">
                  <a16:creationId xmlns:a16="http://schemas.microsoft.com/office/drawing/2014/main" id="{5A237809-188C-4C0C-BFFD-50B74837F0C5}"/>
                </a:ext>
              </a:extLst>
            </p:cNvPr>
            <p:cNvSpPr>
              <a:spLocks/>
            </p:cNvSpPr>
            <p:nvPr/>
          </p:nvSpPr>
          <p:spPr bwMode="auto">
            <a:xfrm>
              <a:off x="8816975" y="1343222"/>
              <a:ext cx="22225" cy="150813"/>
            </a:xfrm>
            <a:custGeom>
              <a:avLst/>
              <a:gdLst>
                <a:gd name="T0" fmla="*/ 96 w 188"/>
                <a:gd name="T1" fmla="*/ 1 h 1303"/>
                <a:gd name="T2" fmla="*/ 96 w 188"/>
                <a:gd name="T3" fmla="*/ 1 h 1303"/>
                <a:gd name="T4" fmla="*/ 188 w 188"/>
                <a:gd name="T5" fmla="*/ 93 h 1303"/>
                <a:gd name="T6" fmla="*/ 185 w 188"/>
                <a:gd name="T7" fmla="*/ 1211 h 1303"/>
                <a:gd name="T8" fmla="*/ 92 w 188"/>
                <a:gd name="T9" fmla="*/ 1303 h 1303"/>
                <a:gd name="T10" fmla="*/ 92 w 188"/>
                <a:gd name="T11" fmla="*/ 1303 h 1303"/>
                <a:gd name="T12" fmla="*/ 0 w 188"/>
                <a:gd name="T13" fmla="*/ 1211 h 1303"/>
                <a:gd name="T14" fmla="*/ 3 w 188"/>
                <a:gd name="T15" fmla="*/ 93 h 1303"/>
                <a:gd name="T16" fmla="*/ 96 w 188"/>
                <a:gd name="T17" fmla="*/ 1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303">
                  <a:moveTo>
                    <a:pt x="96" y="1"/>
                  </a:moveTo>
                  <a:lnTo>
                    <a:pt x="96" y="1"/>
                  </a:lnTo>
                  <a:cubicBezTo>
                    <a:pt x="147" y="1"/>
                    <a:pt x="188" y="43"/>
                    <a:pt x="188" y="93"/>
                  </a:cubicBezTo>
                  <a:lnTo>
                    <a:pt x="185" y="1211"/>
                  </a:lnTo>
                  <a:cubicBezTo>
                    <a:pt x="185" y="1262"/>
                    <a:pt x="142" y="1303"/>
                    <a:pt x="92" y="1303"/>
                  </a:cubicBezTo>
                  <a:lnTo>
                    <a:pt x="92" y="1303"/>
                  </a:lnTo>
                  <a:cubicBezTo>
                    <a:pt x="41" y="1303"/>
                    <a:pt x="0" y="1261"/>
                    <a:pt x="0" y="1211"/>
                  </a:cubicBezTo>
                  <a:lnTo>
                    <a:pt x="3" y="93"/>
                  </a:lnTo>
                  <a:cubicBezTo>
                    <a:pt x="2" y="42"/>
                    <a:pt x="45" y="0"/>
                    <a:pt x="96"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6" name="Freeform 75">
              <a:extLst>
                <a:ext uri="{FF2B5EF4-FFF2-40B4-BE49-F238E27FC236}">
                  <a16:creationId xmlns:a16="http://schemas.microsoft.com/office/drawing/2014/main" id="{3823B082-2940-49F6-9C6A-5C1F536267A6}"/>
                </a:ext>
              </a:extLst>
            </p:cNvPr>
            <p:cNvSpPr>
              <a:spLocks/>
            </p:cNvSpPr>
            <p:nvPr/>
          </p:nvSpPr>
          <p:spPr bwMode="auto">
            <a:xfrm>
              <a:off x="8615363" y="1346397"/>
              <a:ext cx="66675" cy="93663"/>
            </a:xfrm>
            <a:custGeom>
              <a:avLst/>
              <a:gdLst>
                <a:gd name="T0" fmla="*/ 528 w 584"/>
                <a:gd name="T1" fmla="*/ 27 h 810"/>
                <a:gd name="T2" fmla="*/ 528 w 584"/>
                <a:gd name="T3" fmla="*/ 27 h 810"/>
                <a:gd name="T4" fmla="*/ 558 w 584"/>
                <a:gd name="T5" fmla="*/ 155 h 810"/>
                <a:gd name="T6" fmla="*/ 184 w 584"/>
                <a:gd name="T7" fmla="*/ 753 h 810"/>
                <a:gd name="T8" fmla="*/ 57 w 584"/>
                <a:gd name="T9" fmla="*/ 783 h 810"/>
                <a:gd name="T10" fmla="*/ 57 w 584"/>
                <a:gd name="T11" fmla="*/ 783 h 810"/>
                <a:gd name="T12" fmla="*/ 27 w 584"/>
                <a:gd name="T13" fmla="*/ 656 h 810"/>
                <a:gd name="T14" fmla="*/ 400 w 584"/>
                <a:gd name="T15" fmla="*/ 57 h 810"/>
                <a:gd name="T16" fmla="*/ 528 w 584"/>
                <a:gd name="T17" fmla="*/ 27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810">
                  <a:moveTo>
                    <a:pt x="528" y="27"/>
                  </a:moveTo>
                  <a:lnTo>
                    <a:pt x="528" y="27"/>
                  </a:lnTo>
                  <a:cubicBezTo>
                    <a:pt x="572" y="55"/>
                    <a:pt x="584" y="112"/>
                    <a:pt x="558" y="155"/>
                  </a:cubicBezTo>
                  <a:lnTo>
                    <a:pt x="184" y="753"/>
                  </a:lnTo>
                  <a:cubicBezTo>
                    <a:pt x="157" y="797"/>
                    <a:pt x="99" y="810"/>
                    <a:pt x="57" y="783"/>
                  </a:cubicBezTo>
                  <a:lnTo>
                    <a:pt x="57" y="783"/>
                  </a:lnTo>
                  <a:cubicBezTo>
                    <a:pt x="13" y="756"/>
                    <a:pt x="0" y="698"/>
                    <a:pt x="27" y="656"/>
                  </a:cubicBezTo>
                  <a:lnTo>
                    <a:pt x="400" y="57"/>
                  </a:lnTo>
                  <a:cubicBezTo>
                    <a:pt x="428" y="13"/>
                    <a:pt x="485" y="0"/>
                    <a:pt x="528"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7" name="Freeform 76">
              <a:extLst>
                <a:ext uri="{FF2B5EF4-FFF2-40B4-BE49-F238E27FC236}">
                  <a16:creationId xmlns:a16="http://schemas.microsoft.com/office/drawing/2014/main" id="{A8882AD0-D2B2-417D-94F8-D382CAD086FC}"/>
                </a:ext>
              </a:extLst>
            </p:cNvPr>
            <p:cNvSpPr>
              <a:spLocks/>
            </p:cNvSpPr>
            <p:nvPr/>
          </p:nvSpPr>
          <p:spPr bwMode="auto">
            <a:xfrm>
              <a:off x="9066213" y="1019372"/>
              <a:ext cx="103188" cy="44450"/>
            </a:xfrm>
            <a:custGeom>
              <a:avLst/>
              <a:gdLst>
                <a:gd name="T0" fmla="*/ 14 w 889"/>
                <a:gd name="T1" fmla="*/ 310 h 388"/>
                <a:gd name="T2" fmla="*/ 14 w 889"/>
                <a:gd name="T3" fmla="*/ 310 h 388"/>
                <a:gd name="T4" fmla="*/ 128 w 889"/>
                <a:gd name="T5" fmla="*/ 375 h 388"/>
                <a:gd name="T6" fmla="*/ 810 w 889"/>
                <a:gd name="T7" fmla="*/ 192 h 388"/>
                <a:gd name="T8" fmla="*/ 875 w 889"/>
                <a:gd name="T9" fmla="*/ 78 h 388"/>
                <a:gd name="T10" fmla="*/ 875 w 889"/>
                <a:gd name="T11" fmla="*/ 78 h 388"/>
                <a:gd name="T12" fmla="*/ 761 w 889"/>
                <a:gd name="T13" fmla="*/ 13 h 388"/>
                <a:gd name="T14" fmla="*/ 79 w 889"/>
                <a:gd name="T15" fmla="*/ 196 h 388"/>
                <a:gd name="T16" fmla="*/ 14 w 889"/>
                <a:gd name="T17" fmla="*/ 31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9" h="388">
                  <a:moveTo>
                    <a:pt x="14" y="310"/>
                  </a:moveTo>
                  <a:lnTo>
                    <a:pt x="14" y="310"/>
                  </a:lnTo>
                  <a:cubicBezTo>
                    <a:pt x="28" y="358"/>
                    <a:pt x="78" y="388"/>
                    <a:pt x="128" y="375"/>
                  </a:cubicBezTo>
                  <a:lnTo>
                    <a:pt x="810" y="192"/>
                  </a:lnTo>
                  <a:cubicBezTo>
                    <a:pt x="859" y="178"/>
                    <a:pt x="889" y="128"/>
                    <a:pt x="875" y="78"/>
                  </a:cubicBezTo>
                  <a:lnTo>
                    <a:pt x="875" y="78"/>
                  </a:lnTo>
                  <a:cubicBezTo>
                    <a:pt x="861" y="30"/>
                    <a:pt x="811" y="0"/>
                    <a:pt x="761" y="13"/>
                  </a:cubicBezTo>
                  <a:lnTo>
                    <a:pt x="79" y="196"/>
                  </a:lnTo>
                  <a:cubicBezTo>
                    <a:pt x="30" y="210"/>
                    <a:pt x="0" y="260"/>
                    <a:pt x="14"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8" name="Freeform 77">
              <a:extLst>
                <a:ext uri="{FF2B5EF4-FFF2-40B4-BE49-F238E27FC236}">
                  <a16:creationId xmlns:a16="http://schemas.microsoft.com/office/drawing/2014/main" id="{8C5B3935-0174-4E3C-AFC1-5692DA671CA7}"/>
                </a:ext>
              </a:extLst>
            </p:cNvPr>
            <p:cNvSpPr>
              <a:spLocks/>
            </p:cNvSpPr>
            <p:nvPr/>
          </p:nvSpPr>
          <p:spPr bwMode="auto">
            <a:xfrm>
              <a:off x="8975725" y="1346397"/>
              <a:ext cx="66675" cy="93663"/>
            </a:xfrm>
            <a:custGeom>
              <a:avLst/>
              <a:gdLst>
                <a:gd name="T0" fmla="*/ 56 w 583"/>
                <a:gd name="T1" fmla="*/ 27 h 810"/>
                <a:gd name="T2" fmla="*/ 56 w 583"/>
                <a:gd name="T3" fmla="*/ 27 h 810"/>
                <a:gd name="T4" fmla="*/ 26 w 583"/>
                <a:gd name="T5" fmla="*/ 155 h 810"/>
                <a:gd name="T6" fmla="*/ 400 w 583"/>
                <a:gd name="T7" fmla="*/ 753 h 810"/>
                <a:gd name="T8" fmla="*/ 527 w 583"/>
                <a:gd name="T9" fmla="*/ 783 h 810"/>
                <a:gd name="T10" fmla="*/ 527 w 583"/>
                <a:gd name="T11" fmla="*/ 783 h 810"/>
                <a:gd name="T12" fmla="*/ 557 w 583"/>
                <a:gd name="T13" fmla="*/ 656 h 810"/>
                <a:gd name="T14" fmla="*/ 183 w 583"/>
                <a:gd name="T15" fmla="*/ 57 h 810"/>
                <a:gd name="T16" fmla="*/ 56 w 583"/>
                <a:gd name="T17" fmla="*/ 27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810">
                  <a:moveTo>
                    <a:pt x="56" y="27"/>
                  </a:moveTo>
                  <a:lnTo>
                    <a:pt x="56" y="27"/>
                  </a:lnTo>
                  <a:cubicBezTo>
                    <a:pt x="12" y="55"/>
                    <a:pt x="0" y="112"/>
                    <a:pt x="26" y="155"/>
                  </a:cubicBezTo>
                  <a:lnTo>
                    <a:pt x="400" y="753"/>
                  </a:lnTo>
                  <a:cubicBezTo>
                    <a:pt x="427" y="797"/>
                    <a:pt x="485" y="810"/>
                    <a:pt x="527" y="783"/>
                  </a:cubicBezTo>
                  <a:lnTo>
                    <a:pt x="527" y="783"/>
                  </a:lnTo>
                  <a:cubicBezTo>
                    <a:pt x="571" y="756"/>
                    <a:pt x="583" y="698"/>
                    <a:pt x="557" y="656"/>
                  </a:cubicBezTo>
                  <a:lnTo>
                    <a:pt x="183" y="57"/>
                  </a:lnTo>
                  <a:cubicBezTo>
                    <a:pt x="157" y="13"/>
                    <a:pt x="100" y="0"/>
                    <a:pt x="56"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174" name="Left-Right Arrow 74">
            <a:extLst>
              <a:ext uri="{FF2B5EF4-FFF2-40B4-BE49-F238E27FC236}">
                <a16:creationId xmlns:a16="http://schemas.microsoft.com/office/drawing/2014/main" id="{932B14D3-B4C3-4B50-9C9C-6B857E918FE6}"/>
              </a:ext>
            </a:extLst>
          </p:cNvPr>
          <p:cNvSpPr/>
          <p:nvPr/>
        </p:nvSpPr>
        <p:spPr>
          <a:xfrm>
            <a:off x="5010557" y="2835799"/>
            <a:ext cx="3414071" cy="25904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400" b="1">
                <a:solidFill>
                  <a:schemeClr val="tx1"/>
                </a:solidFill>
              </a:rPr>
              <a:t>Support project RAFT</a:t>
            </a:r>
            <a:endParaRPr lang="en-US" sz="1400">
              <a:solidFill>
                <a:schemeClr val="tx1"/>
              </a:solidFill>
            </a:endParaRPr>
          </a:p>
        </p:txBody>
      </p:sp>
      <p:cxnSp>
        <p:nvCxnSpPr>
          <p:cNvPr id="176" name="Straight Connector 175">
            <a:extLst>
              <a:ext uri="{FF2B5EF4-FFF2-40B4-BE49-F238E27FC236}">
                <a16:creationId xmlns:a16="http://schemas.microsoft.com/office/drawing/2014/main" id="{85FBAFFD-4C9F-47E2-B76E-6AC5583FC4F4}"/>
              </a:ext>
            </a:extLst>
          </p:cNvPr>
          <p:cNvCxnSpPr>
            <a:cxnSpLocks/>
          </p:cNvCxnSpPr>
          <p:nvPr/>
        </p:nvCxnSpPr>
        <p:spPr>
          <a:xfrm>
            <a:off x="4212000" y="3058340"/>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Rectangle 176">
            <a:extLst>
              <a:ext uri="{FF2B5EF4-FFF2-40B4-BE49-F238E27FC236}">
                <a16:creationId xmlns:a16="http://schemas.microsoft.com/office/drawing/2014/main" id="{2ABD2DE1-7A70-42DB-B6B6-5ECCD5D2AAFC}"/>
              </a:ext>
            </a:extLst>
          </p:cNvPr>
          <p:cNvSpPr/>
          <p:nvPr/>
        </p:nvSpPr>
        <p:spPr>
          <a:xfrm>
            <a:off x="4976932" y="3131771"/>
            <a:ext cx="4380946"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100">
                <a:solidFill>
                  <a:schemeClr val="tx1"/>
                </a:solidFill>
              </a:rPr>
              <a:t>Support project RAFT by providing expertise from a Data Management/Governance perspective by ensuring data management discipline is installed without disturbing RAFT timelines.</a:t>
            </a:r>
          </a:p>
        </p:txBody>
      </p:sp>
      <p:sp>
        <p:nvSpPr>
          <p:cNvPr id="187" name="Left-Right Arrow 37">
            <a:extLst>
              <a:ext uri="{FF2B5EF4-FFF2-40B4-BE49-F238E27FC236}">
                <a16:creationId xmlns:a16="http://schemas.microsoft.com/office/drawing/2014/main" id="{6C089D99-567F-48C8-B074-3402A46164EA}"/>
              </a:ext>
            </a:extLst>
          </p:cNvPr>
          <p:cNvSpPr/>
          <p:nvPr/>
        </p:nvSpPr>
        <p:spPr>
          <a:xfrm>
            <a:off x="9720000" y="3195305"/>
            <a:ext cx="2074197"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100">
                <a:solidFill>
                  <a:schemeClr val="tx1"/>
                </a:solidFill>
              </a:rPr>
              <a:t>4 months</a:t>
            </a:r>
          </a:p>
        </p:txBody>
      </p:sp>
      <p:sp>
        <p:nvSpPr>
          <p:cNvPr id="330" name="Freeform 985">
            <a:extLst>
              <a:ext uri="{FF2B5EF4-FFF2-40B4-BE49-F238E27FC236}">
                <a16:creationId xmlns:a16="http://schemas.microsoft.com/office/drawing/2014/main" id="{8BCA88AE-56ED-402C-9454-0149206E6CAA}"/>
              </a:ext>
            </a:extLst>
          </p:cNvPr>
          <p:cNvSpPr>
            <a:spLocks noChangeAspect="1"/>
          </p:cNvSpPr>
          <p:nvPr/>
        </p:nvSpPr>
        <p:spPr>
          <a:xfrm>
            <a:off x="4260052" y="2549273"/>
            <a:ext cx="622371" cy="466819"/>
          </a:xfrm>
          <a:custGeom>
            <a:avLst/>
            <a:gdLst>
              <a:gd name="connsiteX0" fmla="*/ 627968 w 4630137"/>
              <a:gd name="connsiteY0" fmla="*/ 1869468 h 3901327"/>
              <a:gd name="connsiteX1" fmla="*/ 365669 w 4630137"/>
              <a:gd name="connsiteY1" fmla="*/ 1978344 h 3901327"/>
              <a:gd name="connsiteX2" fmla="*/ 108494 w 4630137"/>
              <a:gd name="connsiteY2" fmla="*/ 2235519 h 3901327"/>
              <a:gd name="connsiteX3" fmla="*/ 0 w 4630137"/>
              <a:gd name="connsiteY3" fmla="*/ 2497397 h 3901327"/>
              <a:gd name="connsiteX4" fmla="*/ 108494 w 4630137"/>
              <a:gd name="connsiteY4" fmla="*/ 2759313 h 3901327"/>
              <a:gd name="connsiteX5" fmla="*/ 1107214 w 4630137"/>
              <a:gd name="connsiteY5" fmla="*/ 3754605 h 3901327"/>
              <a:gd name="connsiteX6" fmla="*/ 1369092 w 4630137"/>
              <a:gd name="connsiteY6" fmla="*/ 3862756 h 3901327"/>
              <a:gd name="connsiteX7" fmla="*/ 1630970 w 4630137"/>
              <a:gd name="connsiteY7" fmla="*/ 3754605 h 3901327"/>
              <a:gd name="connsiteX8" fmla="*/ 1888145 w 4630137"/>
              <a:gd name="connsiteY8" fmla="*/ 3497430 h 3901327"/>
              <a:gd name="connsiteX9" fmla="*/ 1993689 w 4630137"/>
              <a:gd name="connsiteY9" fmla="*/ 3278601 h 3901327"/>
              <a:gd name="connsiteX10" fmla="*/ 1941297 w 4630137"/>
              <a:gd name="connsiteY10" fmla="*/ 3041363 h 3901327"/>
              <a:gd name="connsiteX11" fmla="*/ 2058745 w 4630137"/>
              <a:gd name="connsiteY11" fmla="*/ 2921348 h 3901327"/>
              <a:gd name="connsiteX12" fmla="*/ 2323650 w 4630137"/>
              <a:gd name="connsiteY12" fmla="*/ 2713042 h 3901327"/>
              <a:gd name="connsiteX13" fmla="*/ 2689701 w 4630137"/>
              <a:gd name="connsiteY13" fmla="*/ 3079935 h 3901327"/>
              <a:gd name="connsiteX14" fmla="*/ 2689663 w 4630137"/>
              <a:gd name="connsiteY14" fmla="*/ 3079935 h 3901327"/>
              <a:gd name="connsiteX15" fmla="*/ 2638075 w 4630137"/>
              <a:gd name="connsiteY15" fmla="*/ 3317476 h 3901327"/>
              <a:gd name="connsiteX16" fmla="*/ 2744540 w 4630137"/>
              <a:gd name="connsiteY16" fmla="*/ 3536002 h 3901327"/>
              <a:gd name="connsiteX17" fmla="*/ 3001715 w 4630137"/>
              <a:gd name="connsiteY17" fmla="*/ 3793177 h 3901327"/>
              <a:gd name="connsiteX18" fmla="*/ 3263593 w 4630137"/>
              <a:gd name="connsiteY18" fmla="*/ 3901327 h 3901327"/>
              <a:gd name="connsiteX19" fmla="*/ 3525471 w 4630137"/>
              <a:gd name="connsiteY19" fmla="*/ 3793177 h 3901327"/>
              <a:gd name="connsiteX20" fmla="*/ 4521644 w 4630137"/>
              <a:gd name="connsiteY20" fmla="*/ 2794456 h 3901327"/>
              <a:gd name="connsiteX21" fmla="*/ 4630138 w 4630137"/>
              <a:gd name="connsiteY21" fmla="*/ 2532578 h 3901327"/>
              <a:gd name="connsiteX22" fmla="*/ 4521644 w 4630137"/>
              <a:gd name="connsiteY22" fmla="*/ 2270701 h 3901327"/>
              <a:gd name="connsiteX23" fmla="*/ 4264469 w 4630137"/>
              <a:gd name="connsiteY23" fmla="*/ 2013526 h 3901327"/>
              <a:gd name="connsiteX24" fmla="*/ 4045758 w 4630137"/>
              <a:gd name="connsiteY24" fmla="*/ 1907021 h 3901327"/>
              <a:gd name="connsiteX25" fmla="*/ 3808402 w 4630137"/>
              <a:gd name="connsiteY25" fmla="*/ 1960369 h 3901327"/>
              <a:gd name="connsiteX26" fmla="*/ 3610392 w 4630137"/>
              <a:gd name="connsiteY26" fmla="*/ 1762320 h 3901327"/>
              <a:gd name="connsiteX27" fmla="*/ 3533240 w 4630137"/>
              <a:gd name="connsiteY27" fmla="*/ 1473461 h 3901327"/>
              <a:gd name="connsiteX28" fmla="*/ 3402085 w 4630137"/>
              <a:gd name="connsiteY28" fmla="*/ 1396308 h 3901327"/>
              <a:gd name="connsiteX29" fmla="*/ 3430367 w 4630137"/>
              <a:gd name="connsiteY29" fmla="*/ 1264272 h 3901327"/>
              <a:gd name="connsiteX30" fmla="*/ 3344642 w 4630137"/>
              <a:gd name="connsiteY30" fmla="*/ 1050802 h 3901327"/>
              <a:gd name="connsiteX31" fmla="*/ 3213488 w 4630137"/>
              <a:gd name="connsiteY31" fmla="*/ 973650 h 3901327"/>
              <a:gd name="connsiteX32" fmla="*/ 3216970 w 4630137"/>
              <a:gd name="connsiteY32" fmla="*/ 719042 h 3901327"/>
              <a:gd name="connsiteX33" fmla="*/ 3024897 w 4630137"/>
              <a:gd name="connsiteY33" fmla="*/ 551912 h 3901327"/>
              <a:gd name="connsiteX34" fmla="*/ 3054901 w 4630137"/>
              <a:gd name="connsiteY34" fmla="*/ 420719 h 3901327"/>
              <a:gd name="connsiteX35" fmla="*/ 2909550 w 4630137"/>
              <a:gd name="connsiteY35" fmla="*/ 162584 h 3901327"/>
              <a:gd name="connsiteX36" fmla="*/ 2613412 w 4630137"/>
              <a:gd name="connsiteY36" fmla="*/ 154126 h 3901327"/>
              <a:gd name="connsiteX37" fmla="*/ 2303078 w 4630137"/>
              <a:gd name="connsiteY37" fmla="*/ 663 h 3901327"/>
              <a:gd name="connsiteX38" fmla="*/ 1979890 w 4630137"/>
              <a:gd name="connsiteY38" fmla="*/ 114712 h 3901327"/>
              <a:gd name="connsiteX39" fmla="*/ 1792480 w 4630137"/>
              <a:gd name="connsiteY39" fmla="*/ 80231 h 3901327"/>
              <a:gd name="connsiteX40" fmla="*/ 1620726 w 4630137"/>
              <a:gd name="connsiteY40" fmla="*/ 162703 h 3901327"/>
              <a:gd name="connsiteX41" fmla="*/ 1535001 w 4630137"/>
              <a:gd name="connsiteY41" fmla="*/ 383022 h 3901327"/>
              <a:gd name="connsiteX42" fmla="*/ 1335081 w 4630137"/>
              <a:gd name="connsiteY42" fmla="*/ 453591 h 3901327"/>
              <a:gd name="connsiteX43" fmla="*/ 1232132 w 4630137"/>
              <a:gd name="connsiteY43" fmla="*/ 638895 h 3901327"/>
              <a:gd name="connsiteX44" fmla="*/ 1277827 w 4630137"/>
              <a:gd name="connsiteY44" fmla="*/ 845937 h 3901327"/>
              <a:gd name="connsiteX45" fmla="*/ 1156931 w 4630137"/>
              <a:gd name="connsiteY45" fmla="*/ 918804 h 3901327"/>
              <a:gd name="connsiteX46" fmla="*/ 1068259 w 4630137"/>
              <a:gd name="connsiteY46" fmla="*/ 1101736 h 3901327"/>
              <a:gd name="connsiteX47" fmla="*/ 1115790 w 4630137"/>
              <a:gd name="connsiteY47" fmla="*/ 1299403 h 3901327"/>
              <a:gd name="connsiteX48" fmla="*/ 993208 w 4630137"/>
              <a:gd name="connsiteY48" fmla="*/ 1370585 h 3901327"/>
              <a:gd name="connsiteX49" fmla="*/ 906221 w 4630137"/>
              <a:gd name="connsiteY49" fmla="*/ 1567831 h 3901327"/>
              <a:gd name="connsiteX50" fmla="*/ 973500 w 4630137"/>
              <a:gd name="connsiteY50" fmla="*/ 1772611 h 3901327"/>
              <a:gd name="connsiteX51" fmla="*/ 820919 w 4630137"/>
              <a:gd name="connsiteY51" fmla="*/ 1925192 h 3901327"/>
              <a:gd name="connsiteX52" fmla="*/ 820881 w 4630137"/>
              <a:gd name="connsiteY52" fmla="*/ 1925192 h 3901327"/>
              <a:gd name="connsiteX53" fmla="*/ 627994 w 4630137"/>
              <a:gd name="connsiteY53" fmla="*/ 1869471 h 3901327"/>
              <a:gd name="connsiteX54" fmla="*/ 1765514 w 4630137"/>
              <a:gd name="connsiteY54" fmla="*/ 3378228 h 3901327"/>
              <a:gd name="connsiteX55" fmla="*/ 1508339 w 4630137"/>
              <a:gd name="connsiteY55" fmla="*/ 3635403 h 3901327"/>
              <a:gd name="connsiteX56" fmla="*/ 1367309 w 4630137"/>
              <a:gd name="connsiteY56" fmla="*/ 3694072 h 3901327"/>
              <a:gd name="connsiteX57" fmla="*/ 1226318 w 4630137"/>
              <a:gd name="connsiteY57" fmla="*/ 3635403 h 3901327"/>
              <a:gd name="connsiteX58" fmla="*/ 231026 w 4630137"/>
              <a:gd name="connsiteY58" fmla="*/ 2635899 h 3901327"/>
              <a:gd name="connsiteX59" fmla="*/ 173085 w 4630137"/>
              <a:gd name="connsiteY59" fmla="*/ 2494869 h 3901327"/>
              <a:gd name="connsiteX60" fmla="*/ 231026 w 4630137"/>
              <a:gd name="connsiteY60" fmla="*/ 2353839 h 3901327"/>
              <a:gd name="connsiteX61" fmla="*/ 488201 w 4630137"/>
              <a:gd name="connsiteY61" fmla="*/ 2096664 h 3901327"/>
              <a:gd name="connsiteX62" fmla="*/ 629231 w 4630137"/>
              <a:gd name="connsiteY62" fmla="*/ 2038379 h 3901327"/>
              <a:gd name="connsiteX63" fmla="*/ 770261 w 4630137"/>
              <a:gd name="connsiteY63" fmla="*/ 2096664 h 3901327"/>
              <a:gd name="connsiteX64" fmla="*/ 1765553 w 4630137"/>
              <a:gd name="connsiteY64" fmla="*/ 3096267 h 3901327"/>
              <a:gd name="connsiteX65" fmla="*/ 1823494 w 4630137"/>
              <a:gd name="connsiteY65" fmla="*/ 3237297 h 3901327"/>
              <a:gd name="connsiteX66" fmla="*/ 1765553 w 4630137"/>
              <a:gd name="connsiteY66" fmla="*/ 3378287 h 3901327"/>
              <a:gd name="connsiteX67" fmla="*/ 3516067 w 4630137"/>
              <a:gd name="connsiteY67" fmla="*/ 1913164 h 3901327"/>
              <a:gd name="connsiteX68" fmla="*/ 3678102 w 4630137"/>
              <a:gd name="connsiteY68" fmla="*/ 2075199 h 3901327"/>
              <a:gd name="connsiteX69" fmla="*/ 2806274 w 4630137"/>
              <a:gd name="connsiteY69" fmla="*/ 2951279 h 3901327"/>
              <a:gd name="connsiteX70" fmla="*/ 2487367 w 4630137"/>
              <a:gd name="connsiteY70" fmla="*/ 2629815 h 3901327"/>
              <a:gd name="connsiteX71" fmla="*/ 2630533 w 4630137"/>
              <a:gd name="connsiteY71" fmla="*/ 2574094 h 3901327"/>
              <a:gd name="connsiteX72" fmla="*/ 3240905 w 4630137"/>
              <a:gd name="connsiteY72" fmla="*/ 2193494 h 3901327"/>
              <a:gd name="connsiteX73" fmla="*/ 4141860 w 4630137"/>
              <a:gd name="connsiteY73" fmla="*/ 2136049 h 3901327"/>
              <a:gd name="connsiteX74" fmla="*/ 4399035 w 4630137"/>
              <a:gd name="connsiteY74" fmla="*/ 2393224 h 3901327"/>
              <a:gd name="connsiteX75" fmla="*/ 4456976 w 4630137"/>
              <a:gd name="connsiteY75" fmla="*/ 2534254 h 3901327"/>
              <a:gd name="connsiteX76" fmla="*/ 4399035 w 4630137"/>
              <a:gd name="connsiteY76" fmla="*/ 2675244 h 3901327"/>
              <a:gd name="connsiteX77" fmla="*/ 3403743 w 4630137"/>
              <a:gd name="connsiteY77" fmla="*/ 3669654 h 3901327"/>
              <a:gd name="connsiteX78" fmla="*/ 3262713 w 4630137"/>
              <a:gd name="connsiteY78" fmla="*/ 3728322 h 3901327"/>
              <a:gd name="connsiteX79" fmla="*/ 3121683 w 4630137"/>
              <a:gd name="connsiteY79" fmla="*/ 3669654 h 3901327"/>
              <a:gd name="connsiteX80" fmla="*/ 2864508 w 4630137"/>
              <a:gd name="connsiteY80" fmla="*/ 3412479 h 3901327"/>
              <a:gd name="connsiteX81" fmla="*/ 2806645 w 4630137"/>
              <a:gd name="connsiteY81" fmla="*/ 3271910 h 3901327"/>
              <a:gd name="connsiteX82" fmla="*/ 2864508 w 4630137"/>
              <a:gd name="connsiteY82" fmla="*/ 3131301 h 3901327"/>
              <a:gd name="connsiteX83" fmla="*/ 3863229 w 4630137"/>
              <a:gd name="connsiteY83" fmla="*/ 2136010 h 3901327"/>
              <a:gd name="connsiteX84" fmla="*/ 4004259 w 4630137"/>
              <a:gd name="connsiteY84" fmla="*/ 2079408 h 3901327"/>
              <a:gd name="connsiteX85" fmla="*/ 4145289 w 4630137"/>
              <a:gd name="connsiteY85" fmla="*/ 2136010 h 3901327"/>
              <a:gd name="connsiteX86" fmla="*/ 2843934 w 4630137"/>
              <a:gd name="connsiteY86" fmla="*/ 328966 h 3901327"/>
              <a:gd name="connsiteX87" fmla="*/ 2882473 w 4630137"/>
              <a:gd name="connsiteY87" fmla="*/ 421119 h 3901327"/>
              <a:gd name="connsiteX88" fmla="*/ 2843934 w 4630137"/>
              <a:gd name="connsiteY88" fmla="*/ 513273 h 3901327"/>
              <a:gd name="connsiteX89" fmla="*/ 2728211 w 4630137"/>
              <a:gd name="connsiteY89" fmla="*/ 629840 h 3901327"/>
              <a:gd name="connsiteX90" fmla="*/ 2735137 w 4630137"/>
              <a:gd name="connsiteY90" fmla="*/ 743732 h 3901327"/>
              <a:gd name="connsiteX91" fmla="*/ 2849108 w 4630137"/>
              <a:gd name="connsiteY91" fmla="*/ 749855 h 3901327"/>
              <a:gd name="connsiteX92" fmla="*/ 3033411 w 4630137"/>
              <a:gd name="connsiteY92" fmla="*/ 749855 h 3901327"/>
              <a:gd name="connsiteX93" fmla="*/ 3033411 w 4630137"/>
              <a:gd name="connsiteY93" fmla="*/ 934159 h 3901327"/>
              <a:gd name="connsiteX94" fmla="*/ 2915963 w 4630137"/>
              <a:gd name="connsiteY94" fmla="*/ 1051607 h 3901327"/>
              <a:gd name="connsiteX95" fmla="*/ 2915963 w 4630137"/>
              <a:gd name="connsiteY95" fmla="*/ 1172464 h 3901327"/>
              <a:gd name="connsiteX96" fmla="*/ 2976812 w 4630137"/>
              <a:gd name="connsiteY96" fmla="*/ 1197837 h 3901327"/>
              <a:gd name="connsiteX97" fmla="*/ 3037700 w 4630137"/>
              <a:gd name="connsiteY97" fmla="*/ 1172464 h 3901327"/>
              <a:gd name="connsiteX98" fmla="*/ 3222004 w 4630137"/>
              <a:gd name="connsiteY98" fmla="*/ 1172464 h 3901327"/>
              <a:gd name="connsiteX99" fmla="*/ 3222004 w 4630137"/>
              <a:gd name="connsiteY99" fmla="*/ 1356768 h 3901327"/>
              <a:gd name="connsiteX100" fmla="*/ 3105437 w 4630137"/>
              <a:gd name="connsiteY100" fmla="*/ 1472492 h 3901327"/>
              <a:gd name="connsiteX101" fmla="*/ 3105399 w 4630137"/>
              <a:gd name="connsiteY101" fmla="*/ 1472492 h 3901327"/>
              <a:gd name="connsiteX102" fmla="*/ 3080064 w 4630137"/>
              <a:gd name="connsiteY102" fmla="*/ 1533379 h 3901327"/>
              <a:gd name="connsiteX103" fmla="*/ 3105399 w 4630137"/>
              <a:gd name="connsiteY103" fmla="*/ 1594228 h 3901327"/>
              <a:gd name="connsiteX104" fmla="*/ 3226295 w 4630137"/>
              <a:gd name="connsiteY104" fmla="*/ 1594228 h 3901327"/>
              <a:gd name="connsiteX105" fmla="*/ 3318871 w 4630137"/>
              <a:gd name="connsiteY105" fmla="*/ 1555652 h 3901327"/>
              <a:gd name="connsiteX106" fmla="*/ 3438846 w 4630137"/>
              <a:gd name="connsiteY106" fmla="*/ 1636479 h 3901327"/>
              <a:gd name="connsiteX107" fmla="*/ 3411445 w 4630137"/>
              <a:gd name="connsiteY107" fmla="*/ 1778537 h 3901327"/>
              <a:gd name="connsiteX108" fmla="*/ 3117413 w 4630137"/>
              <a:gd name="connsiteY108" fmla="*/ 2072569 h 3901327"/>
              <a:gd name="connsiteX109" fmla="*/ 2575621 w 4630137"/>
              <a:gd name="connsiteY109" fmla="*/ 2415469 h 3901327"/>
              <a:gd name="connsiteX110" fmla="*/ 1939532 w 4630137"/>
              <a:gd name="connsiteY110" fmla="*/ 2804680 h 3901327"/>
              <a:gd name="connsiteX111" fmla="*/ 1825523 w 4630137"/>
              <a:gd name="connsiteY111" fmla="*/ 2918689 h 3901327"/>
              <a:gd name="connsiteX112" fmla="*/ 950285 w 4630137"/>
              <a:gd name="connsiteY112" fmla="*/ 2035722 h 3901327"/>
              <a:gd name="connsiteX113" fmla="*/ 1096018 w 4630137"/>
              <a:gd name="connsiteY113" fmla="*/ 1889989 h 3901327"/>
              <a:gd name="connsiteX114" fmla="*/ 1300876 w 4630137"/>
              <a:gd name="connsiteY114" fmla="*/ 1958148 h 3901327"/>
              <a:gd name="connsiteX115" fmla="*/ 1498043 w 4630137"/>
              <a:gd name="connsiteY115" fmla="*/ 1870280 h 3901327"/>
              <a:gd name="connsiteX116" fmla="*/ 1583768 w 4630137"/>
              <a:gd name="connsiteY116" fmla="*/ 1652518 h 3901327"/>
              <a:gd name="connsiteX117" fmla="*/ 1801529 w 4630137"/>
              <a:gd name="connsiteY117" fmla="*/ 1566793 h 3901327"/>
              <a:gd name="connsiteX118" fmla="*/ 1887254 w 4630137"/>
              <a:gd name="connsiteY118" fmla="*/ 1349072 h 3901327"/>
              <a:gd name="connsiteX119" fmla="*/ 2104134 w 4630137"/>
              <a:gd name="connsiteY119" fmla="*/ 1263347 h 3901327"/>
              <a:gd name="connsiteX120" fmla="*/ 2189859 w 4630137"/>
              <a:gd name="connsiteY120" fmla="*/ 1046428 h 3901327"/>
              <a:gd name="connsiteX121" fmla="*/ 2397823 w 4630137"/>
              <a:gd name="connsiteY121" fmla="*/ 967936 h 3901327"/>
              <a:gd name="connsiteX122" fmla="*/ 2494684 w 4630137"/>
              <a:gd name="connsiteY122" fmla="*/ 767898 h 3901327"/>
              <a:gd name="connsiteX123" fmla="*/ 2427329 w 4630137"/>
              <a:gd name="connsiteY123" fmla="*/ 556113 h 3901327"/>
              <a:gd name="connsiteX124" fmla="*/ 2658786 w 4630137"/>
              <a:gd name="connsiteY124" fmla="*/ 328937 h 3901327"/>
              <a:gd name="connsiteX125" fmla="*/ 2843933 w 4630137"/>
              <a:gd name="connsiteY125" fmla="*/ 328937 h 3901327"/>
              <a:gd name="connsiteX126" fmla="*/ 2287564 w 4630137"/>
              <a:gd name="connsiteY126" fmla="*/ 172094 h 3901327"/>
              <a:gd name="connsiteX127" fmla="*/ 2287603 w 4630137"/>
              <a:gd name="connsiteY127" fmla="*/ 172055 h 3901327"/>
              <a:gd name="connsiteX128" fmla="*/ 2480489 w 4630137"/>
              <a:gd name="connsiteY128" fmla="*/ 266353 h 3901327"/>
              <a:gd name="connsiteX129" fmla="*/ 2315887 w 4630137"/>
              <a:gd name="connsiteY129" fmla="*/ 431836 h 3901327"/>
              <a:gd name="connsiteX130" fmla="*/ 2113596 w 4630137"/>
              <a:gd name="connsiteY130" fmla="*/ 229545 h 3901327"/>
              <a:gd name="connsiteX131" fmla="*/ 2113596 w 4630137"/>
              <a:gd name="connsiteY131" fmla="*/ 229507 h 3901327"/>
              <a:gd name="connsiteX132" fmla="*/ 2287612 w 4630137"/>
              <a:gd name="connsiteY132" fmla="*/ 172063 h 3901327"/>
              <a:gd name="connsiteX133" fmla="*/ 1702910 w 4630137"/>
              <a:gd name="connsiteY133" fmla="*/ 376991 h 3901327"/>
              <a:gd name="connsiteX134" fmla="*/ 1702948 w 4630137"/>
              <a:gd name="connsiteY134" fmla="*/ 376953 h 3901327"/>
              <a:gd name="connsiteX135" fmla="*/ 1833260 w 4630137"/>
              <a:gd name="connsiteY135" fmla="*/ 246641 h 3901327"/>
              <a:gd name="connsiteX136" fmla="*/ 1925835 w 4630137"/>
              <a:gd name="connsiteY136" fmla="*/ 284376 h 3901327"/>
              <a:gd name="connsiteX137" fmla="*/ 2292729 w 4630137"/>
              <a:gd name="connsiteY137" fmla="*/ 652151 h 3901327"/>
              <a:gd name="connsiteX138" fmla="*/ 2292729 w 4630137"/>
              <a:gd name="connsiteY138" fmla="*/ 652112 h 3901327"/>
              <a:gd name="connsiteX139" fmla="*/ 2331267 w 4630137"/>
              <a:gd name="connsiteY139" fmla="*/ 744266 h 3901327"/>
              <a:gd name="connsiteX140" fmla="*/ 2292729 w 4630137"/>
              <a:gd name="connsiteY140" fmla="*/ 836420 h 3901327"/>
              <a:gd name="connsiteX141" fmla="*/ 2108425 w 4630137"/>
              <a:gd name="connsiteY141" fmla="*/ 836420 h 3901327"/>
              <a:gd name="connsiteX142" fmla="*/ 1741531 w 4630137"/>
              <a:gd name="connsiteY142" fmla="*/ 468684 h 3901327"/>
              <a:gd name="connsiteX143" fmla="*/ 1702955 w 4630137"/>
              <a:gd name="connsiteY143" fmla="*/ 376951 h 3901327"/>
              <a:gd name="connsiteX144" fmla="*/ 1435438 w 4630137"/>
              <a:gd name="connsiteY144" fmla="*/ 590461 h 3901327"/>
              <a:gd name="connsiteX145" fmla="*/ 1435477 w 4630137"/>
              <a:gd name="connsiteY145" fmla="*/ 590423 h 3901327"/>
              <a:gd name="connsiteX146" fmla="*/ 1527630 w 4630137"/>
              <a:gd name="connsiteY146" fmla="*/ 551885 h 3901327"/>
              <a:gd name="connsiteX147" fmla="*/ 1619784 w 4630137"/>
              <a:gd name="connsiteY147" fmla="*/ 590423 h 3901327"/>
              <a:gd name="connsiteX148" fmla="*/ 1987559 w 4630137"/>
              <a:gd name="connsiteY148" fmla="*/ 957316 h 3901327"/>
              <a:gd name="connsiteX149" fmla="*/ 1987559 w 4630137"/>
              <a:gd name="connsiteY149" fmla="*/ 1141620 h 3901327"/>
              <a:gd name="connsiteX150" fmla="*/ 1803255 w 4630137"/>
              <a:gd name="connsiteY150" fmla="*/ 1141620 h 3901327"/>
              <a:gd name="connsiteX151" fmla="*/ 1581213 w 4630137"/>
              <a:gd name="connsiteY151" fmla="*/ 921302 h 3901327"/>
              <a:gd name="connsiteX152" fmla="*/ 1435480 w 4630137"/>
              <a:gd name="connsiteY152" fmla="*/ 775569 h 3901327"/>
              <a:gd name="connsiteX153" fmla="*/ 1435480 w 4630137"/>
              <a:gd name="connsiteY153" fmla="*/ 592098 h 3901327"/>
              <a:gd name="connsiteX154" fmla="*/ 1276009 w 4630137"/>
              <a:gd name="connsiteY154" fmla="*/ 1040522 h 3901327"/>
              <a:gd name="connsiteX155" fmla="*/ 1276048 w 4630137"/>
              <a:gd name="connsiteY155" fmla="*/ 1040484 h 3901327"/>
              <a:gd name="connsiteX156" fmla="*/ 1459480 w 4630137"/>
              <a:gd name="connsiteY156" fmla="*/ 1040484 h 3901327"/>
              <a:gd name="connsiteX157" fmla="*/ 1682365 w 4630137"/>
              <a:gd name="connsiteY157" fmla="*/ 1264212 h 3901327"/>
              <a:gd name="connsiteX158" fmla="*/ 1682365 w 4630137"/>
              <a:gd name="connsiteY158" fmla="*/ 1448515 h 3901327"/>
              <a:gd name="connsiteX159" fmla="*/ 1498061 w 4630137"/>
              <a:gd name="connsiteY159" fmla="*/ 1448515 h 3901327"/>
              <a:gd name="connsiteX160" fmla="*/ 1276018 w 4630137"/>
              <a:gd name="connsiteY160" fmla="*/ 1226473 h 3901327"/>
              <a:gd name="connsiteX161" fmla="*/ 1276056 w 4630137"/>
              <a:gd name="connsiteY161" fmla="*/ 1226473 h 3901327"/>
              <a:gd name="connsiteX162" fmla="*/ 1236639 w 4630137"/>
              <a:gd name="connsiteY162" fmla="*/ 1133477 h 3901327"/>
              <a:gd name="connsiteX163" fmla="*/ 1276056 w 4630137"/>
              <a:gd name="connsiteY163" fmla="*/ 1040480 h 3901327"/>
              <a:gd name="connsiteX164" fmla="*/ 1115738 w 4630137"/>
              <a:gd name="connsiteY164" fmla="*/ 1491387 h 3901327"/>
              <a:gd name="connsiteX165" fmla="*/ 1207892 w 4630137"/>
              <a:gd name="connsiteY165" fmla="*/ 1452849 h 3901327"/>
              <a:gd name="connsiteX166" fmla="*/ 1300046 w 4630137"/>
              <a:gd name="connsiteY166" fmla="*/ 1491387 h 3901327"/>
              <a:gd name="connsiteX167" fmla="*/ 1376357 w 4630137"/>
              <a:gd name="connsiteY167" fmla="*/ 1568539 h 3901327"/>
              <a:gd name="connsiteX168" fmla="*/ 1414818 w 4630137"/>
              <a:gd name="connsiteY168" fmla="*/ 1660273 h 3901327"/>
              <a:gd name="connsiteX169" fmla="*/ 1376357 w 4630137"/>
              <a:gd name="connsiteY169" fmla="*/ 1752007 h 3901327"/>
              <a:gd name="connsiteX170" fmla="*/ 1192886 w 4630137"/>
              <a:gd name="connsiteY170" fmla="*/ 1752007 h 3901327"/>
              <a:gd name="connsiteX171" fmla="*/ 1115733 w 4630137"/>
              <a:gd name="connsiteY171" fmla="*/ 1675696 h 3901327"/>
              <a:gd name="connsiteX172" fmla="*/ 1115733 w 4630137"/>
              <a:gd name="connsiteY172" fmla="*/ 1491392 h 390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4630137" h="3901327">
                <a:moveTo>
                  <a:pt x="627968" y="1869468"/>
                </a:moveTo>
                <a:cubicBezTo>
                  <a:pt x="529496" y="1869200"/>
                  <a:pt x="435013" y="1908390"/>
                  <a:pt x="365669" y="1978344"/>
                </a:cubicBezTo>
                <a:lnTo>
                  <a:pt x="108494" y="2235519"/>
                </a:lnTo>
                <a:cubicBezTo>
                  <a:pt x="39034" y="2304979"/>
                  <a:pt x="0" y="2399200"/>
                  <a:pt x="0" y="2497397"/>
                </a:cubicBezTo>
                <a:cubicBezTo>
                  <a:pt x="0" y="2595633"/>
                  <a:pt x="39036" y="2689861"/>
                  <a:pt x="108494" y="2759313"/>
                </a:cubicBezTo>
                <a:lnTo>
                  <a:pt x="1107214" y="3754605"/>
                </a:lnTo>
                <a:cubicBezTo>
                  <a:pt x="1176790" y="3823874"/>
                  <a:pt x="1270934" y="3862756"/>
                  <a:pt x="1369092" y="3862756"/>
                </a:cubicBezTo>
                <a:cubicBezTo>
                  <a:pt x="1467250" y="3862756"/>
                  <a:pt x="1561439" y="3823873"/>
                  <a:pt x="1630970" y="3754605"/>
                </a:cubicBezTo>
                <a:lnTo>
                  <a:pt x="1888145" y="3497430"/>
                </a:lnTo>
                <a:cubicBezTo>
                  <a:pt x="1946889" y="3438380"/>
                  <a:pt x="1984050" y="3361299"/>
                  <a:pt x="1993689" y="3278601"/>
                </a:cubicBezTo>
                <a:cubicBezTo>
                  <a:pt x="2003333" y="3195900"/>
                  <a:pt x="1984887" y="3112314"/>
                  <a:pt x="1941297" y="3041363"/>
                </a:cubicBezTo>
                <a:lnTo>
                  <a:pt x="2058745" y="2921348"/>
                </a:lnTo>
                <a:cubicBezTo>
                  <a:pt x="2138614" y="2841861"/>
                  <a:pt x="2227521" y="2771942"/>
                  <a:pt x="2323650" y="2713042"/>
                </a:cubicBezTo>
                <a:lnTo>
                  <a:pt x="2689701" y="3079935"/>
                </a:lnTo>
                <a:lnTo>
                  <a:pt x="2689663" y="3079935"/>
                </a:lnTo>
                <a:cubicBezTo>
                  <a:pt x="2646302" y="3151079"/>
                  <a:pt x="2628125" y="3234739"/>
                  <a:pt x="2638075" y="3317476"/>
                </a:cubicBezTo>
                <a:cubicBezTo>
                  <a:pt x="2648063" y="3400216"/>
                  <a:pt x="2685530" y="3477179"/>
                  <a:pt x="2744540" y="3536002"/>
                </a:cubicBezTo>
                <a:lnTo>
                  <a:pt x="3001715" y="3793177"/>
                </a:lnTo>
                <a:cubicBezTo>
                  <a:pt x="3071291" y="3862445"/>
                  <a:pt x="3165435" y="3901327"/>
                  <a:pt x="3263593" y="3901327"/>
                </a:cubicBezTo>
                <a:cubicBezTo>
                  <a:pt x="3361750" y="3901327"/>
                  <a:pt x="3455940" y="3862444"/>
                  <a:pt x="3525471" y="3793177"/>
                </a:cubicBezTo>
                <a:lnTo>
                  <a:pt x="4521644" y="2794456"/>
                </a:lnTo>
                <a:cubicBezTo>
                  <a:pt x="4591104" y="2724996"/>
                  <a:pt x="4630138" y="2630814"/>
                  <a:pt x="4630138" y="2532578"/>
                </a:cubicBezTo>
                <a:cubicBezTo>
                  <a:pt x="4630138" y="2434342"/>
                  <a:pt x="4591102" y="2340113"/>
                  <a:pt x="4521644" y="2270701"/>
                </a:cubicBezTo>
                <a:lnTo>
                  <a:pt x="4264469" y="2013526"/>
                </a:lnTo>
                <a:cubicBezTo>
                  <a:pt x="4205763" y="1954245"/>
                  <a:pt x="4128651" y="1916664"/>
                  <a:pt x="4045758" y="1907021"/>
                </a:cubicBezTo>
                <a:cubicBezTo>
                  <a:pt x="3962903" y="1897377"/>
                  <a:pt x="3879206" y="1916167"/>
                  <a:pt x="3808402" y="1960369"/>
                </a:cubicBezTo>
                <a:lnTo>
                  <a:pt x="3610392" y="1762320"/>
                </a:lnTo>
                <a:cubicBezTo>
                  <a:pt x="3637717" y="1659185"/>
                  <a:pt x="3608364" y="1549232"/>
                  <a:pt x="3533240" y="1473461"/>
                </a:cubicBezTo>
                <a:cubicBezTo>
                  <a:pt x="3497075" y="1436645"/>
                  <a:pt x="3451839" y="1410009"/>
                  <a:pt x="3402085" y="1396308"/>
                </a:cubicBezTo>
                <a:cubicBezTo>
                  <a:pt x="3421335" y="1354976"/>
                  <a:pt x="3431017" y="1309857"/>
                  <a:pt x="3430367" y="1264272"/>
                </a:cubicBezTo>
                <a:cubicBezTo>
                  <a:pt x="3431553" y="1184518"/>
                  <a:pt x="3400670" y="1107596"/>
                  <a:pt x="3344642" y="1050802"/>
                </a:cubicBezTo>
                <a:cubicBezTo>
                  <a:pt x="3308591" y="1013834"/>
                  <a:pt x="3263318" y="987197"/>
                  <a:pt x="3213488" y="973650"/>
                </a:cubicBezTo>
                <a:cubicBezTo>
                  <a:pt x="3252026" y="893436"/>
                  <a:pt x="3253326" y="800289"/>
                  <a:pt x="3216970" y="719042"/>
                </a:cubicBezTo>
                <a:cubicBezTo>
                  <a:pt x="3180652" y="637794"/>
                  <a:pt x="3110387" y="576640"/>
                  <a:pt x="3024897" y="551912"/>
                </a:cubicBezTo>
                <a:cubicBezTo>
                  <a:pt x="3044759" y="511040"/>
                  <a:pt x="3055054" y="466187"/>
                  <a:pt x="3054901" y="420719"/>
                </a:cubicBezTo>
                <a:cubicBezTo>
                  <a:pt x="3055092" y="315135"/>
                  <a:pt x="2999945" y="217163"/>
                  <a:pt x="2909550" y="162584"/>
                </a:cubicBezTo>
                <a:cubicBezTo>
                  <a:pt x="2819156" y="108011"/>
                  <a:pt x="2706759" y="104796"/>
                  <a:pt x="2613412" y="154126"/>
                </a:cubicBezTo>
                <a:cubicBezTo>
                  <a:pt x="2530787" y="68668"/>
                  <a:pt x="2421143" y="14438"/>
                  <a:pt x="2303078" y="663"/>
                </a:cubicBezTo>
                <a:cubicBezTo>
                  <a:pt x="2184484" y="-5804"/>
                  <a:pt x="2068172" y="35221"/>
                  <a:pt x="1979890" y="114712"/>
                </a:cubicBezTo>
                <a:cubicBezTo>
                  <a:pt x="1922637" y="83675"/>
                  <a:pt x="1857043" y="71620"/>
                  <a:pt x="1792480" y="80231"/>
                </a:cubicBezTo>
                <a:cubicBezTo>
                  <a:pt x="1727957" y="88842"/>
                  <a:pt x="1667792" y="117735"/>
                  <a:pt x="1620726" y="162703"/>
                </a:cubicBezTo>
                <a:cubicBezTo>
                  <a:pt x="1562939" y="221141"/>
                  <a:pt x="1531902" y="300892"/>
                  <a:pt x="1535001" y="383022"/>
                </a:cubicBezTo>
                <a:cubicBezTo>
                  <a:pt x="1461982" y="381338"/>
                  <a:pt x="1390876" y="406443"/>
                  <a:pt x="1335081" y="453591"/>
                </a:cubicBezTo>
                <a:cubicBezTo>
                  <a:pt x="1279283" y="500740"/>
                  <a:pt x="1242658" y="566641"/>
                  <a:pt x="1232132" y="638895"/>
                </a:cubicBezTo>
                <a:cubicBezTo>
                  <a:pt x="1221570" y="711187"/>
                  <a:pt x="1237835" y="784823"/>
                  <a:pt x="1277827" y="845937"/>
                </a:cubicBezTo>
                <a:cubicBezTo>
                  <a:pt x="1232363" y="860442"/>
                  <a:pt x="1190992" y="885394"/>
                  <a:pt x="1156931" y="918804"/>
                </a:cubicBezTo>
                <a:cubicBezTo>
                  <a:pt x="1107103" y="967675"/>
                  <a:pt x="1075759" y="1032353"/>
                  <a:pt x="1068259" y="1101736"/>
                </a:cubicBezTo>
                <a:cubicBezTo>
                  <a:pt x="1060758" y="1171158"/>
                  <a:pt x="1077558" y="1241002"/>
                  <a:pt x="1115790" y="1299403"/>
                </a:cubicBezTo>
                <a:cubicBezTo>
                  <a:pt x="1069637" y="1312529"/>
                  <a:pt x="1027463" y="1336984"/>
                  <a:pt x="993208" y="1370585"/>
                </a:cubicBezTo>
                <a:cubicBezTo>
                  <a:pt x="940855" y="1423321"/>
                  <a:pt x="909856" y="1493588"/>
                  <a:pt x="906221" y="1567831"/>
                </a:cubicBezTo>
                <a:cubicBezTo>
                  <a:pt x="902585" y="1642037"/>
                  <a:pt x="926542" y="1715014"/>
                  <a:pt x="973500" y="1772611"/>
                </a:cubicBezTo>
                <a:lnTo>
                  <a:pt x="820919" y="1925192"/>
                </a:lnTo>
                <a:lnTo>
                  <a:pt x="820881" y="1925192"/>
                </a:lnTo>
                <a:cubicBezTo>
                  <a:pt x="763017" y="1889065"/>
                  <a:pt x="696232" y="1869777"/>
                  <a:pt x="627994" y="1869471"/>
                </a:cubicBezTo>
                <a:close/>
                <a:moveTo>
                  <a:pt x="1765514" y="3378228"/>
                </a:moveTo>
                <a:lnTo>
                  <a:pt x="1508339" y="3635403"/>
                </a:lnTo>
                <a:cubicBezTo>
                  <a:pt x="1471026" y="3672946"/>
                  <a:pt x="1420279" y="3694072"/>
                  <a:pt x="1367309" y="3694072"/>
                </a:cubicBezTo>
                <a:cubicBezTo>
                  <a:pt x="1314382" y="3694072"/>
                  <a:pt x="1263636" y="3672947"/>
                  <a:pt x="1226318" y="3635403"/>
                </a:cubicBezTo>
                <a:lnTo>
                  <a:pt x="231026" y="2635899"/>
                </a:lnTo>
                <a:cubicBezTo>
                  <a:pt x="193904" y="2598356"/>
                  <a:pt x="173085" y="2547686"/>
                  <a:pt x="173085" y="2494869"/>
                </a:cubicBezTo>
                <a:cubicBezTo>
                  <a:pt x="173085" y="2442095"/>
                  <a:pt x="193904" y="2391421"/>
                  <a:pt x="231026" y="2353839"/>
                </a:cubicBezTo>
                <a:lnTo>
                  <a:pt x="488201" y="2096664"/>
                </a:lnTo>
                <a:cubicBezTo>
                  <a:pt x="525668" y="2059351"/>
                  <a:pt x="576376" y="2038379"/>
                  <a:pt x="629231" y="2038379"/>
                </a:cubicBezTo>
                <a:cubicBezTo>
                  <a:pt x="682087" y="2038379"/>
                  <a:pt x="732787" y="2059351"/>
                  <a:pt x="770261" y="2096664"/>
                </a:cubicBezTo>
                <a:lnTo>
                  <a:pt x="1765553" y="3096267"/>
                </a:lnTo>
                <a:cubicBezTo>
                  <a:pt x="1802675" y="3133809"/>
                  <a:pt x="1823494" y="3184479"/>
                  <a:pt x="1823494" y="3237297"/>
                </a:cubicBezTo>
                <a:cubicBezTo>
                  <a:pt x="1823494" y="3290071"/>
                  <a:pt x="1802675" y="3340745"/>
                  <a:pt x="1765553" y="3378287"/>
                </a:cubicBezTo>
                <a:close/>
                <a:moveTo>
                  <a:pt x="3516067" y="1913164"/>
                </a:moveTo>
                <a:lnTo>
                  <a:pt x="3678102" y="2075199"/>
                </a:lnTo>
                <a:lnTo>
                  <a:pt x="2806274" y="2951279"/>
                </a:lnTo>
                <a:lnTo>
                  <a:pt x="2487367" y="2629815"/>
                </a:lnTo>
                <a:cubicBezTo>
                  <a:pt x="2533674" y="2609225"/>
                  <a:pt x="2581665" y="2590397"/>
                  <a:pt x="2630533" y="2574094"/>
                </a:cubicBezTo>
                <a:cubicBezTo>
                  <a:pt x="2861109" y="2497094"/>
                  <a:pt x="3070258" y="2366669"/>
                  <a:pt x="3240905" y="2193494"/>
                </a:cubicBezTo>
                <a:close/>
                <a:moveTo>
                  <a:pt x="4141860" y="2136049"/>
                </a:moveTo>
                <a:lnTo>
                  <a:pt x="4399035" y="2393224"/>
                </a:lnTo>
                <a:cubicBezTo>
                  <a:pt x="4436158" y="2430766"/>
                  <a:pt x="4456976" y="2481436"/>
                  <a:pt x="4456976" y="2534254"/>
                </a:cubicBezTo>
                <a:cubicBezTo>
                  <a:pt x="4456976" y="2587028"/>
                  <a:pt x="4436158" y="2637701"/>
                  <a:pt x="4399035" y="2675244"/>
                </a:cubicBezTo>
                <a:lnTo>
                  <a:pt x="3403743" y="3669654"/>
                </a:lnTo>
                <a:cubicBezTo>
                  <a:pt x="3366392" y="3707197"/>
                  <a:pt x="3315645" y="3728322"/>
                  <a:pt x="3262713" y="3728322"/>
                </a:cubicBezTo>
                <a:cubicBezTo>
                  <a:pt x="3209786" y="3728322"/>
                  <a:pt x="3159001" y="3707198"/>
                  <a:pt x="3121683" y="3669654"/>
                </a:cubicBezTo>
                <a:lnTo>
                  <a:pt x="2864508" y="3412479"/>
                </a:lnTo>
                <a:cubicBezTo>
                  <a:pt x="2827463" y="3375089"/>
                  <a:pt x="2806645" y="3324572"/>
                  <a:pt x="2806645" y="3271910"/>
                </a:cubicBezTo>
                <a:cubicBezTo>
                  <a:pt x="2806645" y="3219247"/>
                  <a:pt x="2827463" y="3168736"/>
                  <a:pt x="2864508" y="3131301"/>
                </a:cubicBezTo>
                <a:lnTo>
                  <a:pt x="3863229" y="2136010"/>
                </a:lnTo>
                <a:cubicBezTo>
                  <a:pt x="3901193" y="2099692"/>
                  <a:pt x="3951709" y="2079408"/>
                  <a:pt x="4004259" y="2079408"/>
                </a:cubicBezTo>
                <a:cubicBezTo>
                  <a:pt x="4056809" y="2079408"/>
                  <a:pt x="4107286" y="2099692"/>
                  <a:pt x="4145289" y="2136010"/>
                </a:cubicBezTo>
                <a:close/>
                <a:moveTo>
                  <a:pt x="2843934" y="328966"/>
                </a:moveTo>
                <a:cubicBezTo>
                  <a:pt x="2868618" y="353267"/>
                  <a:pt x="2882473" y="386486"/>
                  <a:pt x="2882473" y="421119"/>
                </a:cubicBezTo>
                <a:cubicBezTo>
                  <a:pt x="2882473" y="455754"/>
                  <a:pt x="2868618" y="488934"/>
                  <a:pt x="2843934" y="513273"/>
                </a:cubicBezTo>
                <a:lnTo>
                  <a:pt x="2728211" y="629840"/>
                </a:lnTo>
                <a:cubicBezTo>
                  <a:pt x="2701268" y="664053"/>
                  <a:pt x="2704215" y="713039"/>
                  <a:pt x="2735137" y="743732"/>
                </a:cubicBezTo>
                <a:cubicBezTo>
                  <a:pt x="2766059" y="774462"/>
                  <a:pt x="2815084" y="777064"/>
                  <a:pt x="2849108" y="749855"/>
                </a:cubicBezTo>
                <a:cubicBezTo>
                  <a:pt x="2900007" y="698956"/>
                  <a:pt x="2982515" y="698956"/>
                  <a:pt x="3033411" y="749855"/>
                </a:cubicBezTo>
                <a:cubicBezTo>
                  <a:pt x="3084310" y="800754"/>
                  <a:pt x="3084310" y="883262"/>
                  <a:pt x="3033411" y="934159"/>
                </a:cubicBezTo>
                <a:lnTo>
                  <a:pt x="2915963" y="1051607"/>
                </a:lnTo>
                <a:cubicBezTo>
                  <a:pt x="2882707" y="1085017"/>
                  <a:pt x="2882707" y="1139054"/>
                  <a:pt x="2915963" y="1172464"/>
                </a:cubicBezTo>
                <a:cubicBezTo>
                  <a:pt x="2932075" y="1188690"/>
                  <a:pt x="2953965" y="1197837"/>
                  <a:pt x="2976812" y="1197837"/>
                </a:cubicBezTo>
                <a:cubicBezTo>
                  <a:pt x="2999697" y="1197837"/>
                  <a:pt x="3021588" y="1188690"/>
                  <a:pt x="3037700" y="1172464"/>
                </a:cubicBezTo>
                <a:cubicBezTo>
                  <a:pt x="3088599" y="1121565"/>
                  <a:pt x="3171107" y="1121565"/>
                  <a:pt x="3222004" y="1172464"/>
                </a:cubicBezTo>
                <a:cubicBezTo>
                  <a:pt x="3272902" y="1223363"/>
                  <a:pt x="3272902" y="1305872"/>
                  <a:pt x="3222004" y="1356768"/>
                </a:cubicBezTo>
                <a:lnTo>
                  <a:pt x="3105437" y="1472492"/>
                </a:lnTo>
                <a:lnTo>
                  <a:pt x="3105399" y="1472492"/>
                </a:lnTo>
                <a:cubicBezTo>
                  <a:pt x="3089173" y="1488603"/>
                  <a:pt x="3080064" y="1510494"/>
                  <a:pt x="3080064" y="1533379"/>
                </a:cubicBezTo>
                <a:cubicBezTo>
                  <a:pt x="3080064" y="1556226"/>
                  <a:pt x="3089173" y="1578117"/>
                  <a:pt x="3105399" y="1594228"/>
                </a:cubicBezTo>
                <a:cubicBezTo>
                  <a:pt x="3138847" y="1627485"/>
                  <a:pt x="3192846" y="1627485"/>
                  <a:pt x="3226295" y="1594228"/>
                </a:cubicBezTo>
                <a:cubicBezTo>
                  <a:pt x="3250712" y="1569468"/>
                  <a:pt x="3284083" y="1555537"/>
                  <a:pt x="3318871" y="1555652"/>
                </a:cubicBezTo>
                <a:cubicBezTo>
                  <a:pt x="3371454" y="1556111"/>
                  <a:pt x="3418684" y="1587952"/>
                  <a:pt x="3438846" y="1636479"/>
                </a:cubicBezTo>
                <a:cubicBezTo>
                  <a:pt x="3459015" y="1685043"/>
                  <a:pt x="3448223" y="1740955"/>
                  <a:pt x="3411445" y="1778537"/>
                </a:cubicBezTo>
                <a:lnTo>
                  <a:pt x="3117413" y="2072569"/>
                </a:lnTo>
                <a:cubicBezTo>
                  <a:pt x="2966439" y="2228060"/>
                  <a:pt x="2780793" y="2345586"/>
                  <a:pt x="2575621" y="2415469"/>
                </a:cubicBezTo>
                <a:cubicBezTo>
                  <a:pt x="2335856" y="2493157"/>
                  <a:pt x="2117869" y="2626529"/>
                  <a:pt x="1939532" y="2804680"/>
                </a:cubicBezTo>
                <a:lnTo>
                  <a:pt x="1825523" y="2918689"/>
                </a:lnTo>
                <a:lnTo>
                  <a:pt x="950285" y="2035722"/>
                </a:lnTo>
                <a:lnTo>
                  <a:pt x="1096018" y="1889989"/>
                </a:lnTo>
                <a:cubicBezTo>
                  <a:pt x="1153385" y="1937483"/>
                  <a:pt x="1226476" y="1961822"/>
                  <a:pt x="1300876" y="1958148"/>
                </a:cubicBezTo>
                <a:cubicBezTo>
                  <a:pt x="1375273" y="1954512"/>
                  <a:pt x="1445609" y="1923170"/>
                  <a:pt x="1498043" y="1870280"/>
                </a:cubicBezTo>
                <a:cubicBezTo>
                  <a:pt x="1554836" y="1812224"/>
                  <a:pt x="1585758" y="1733698"/>
                  <a:pt x="1583768" y="1652518"/>
                </a:cubicBezTo>
                <a:cubicBezTo>
                  <a:pt x="1665092" y="1655197"/>
                  <a:pt x="1743893" y="1624199"/>
                  <a:pt x="1801529" y="1566793"/>
                </a:cubicBezTo>
                <a:cubicBezTo>
                  <a:pt x="1858246" y="1508699"/>
                  <a:pt x="1889130" y="1430211"/>
                  <a:pt x="1887254" y="1349072"/>
                </a:cubicBezTo>
                <a:cubicBezTo>
                  <a:pt x="1968310" y="1351789"/>
                  <a:pt x="2046879" y="1320752"/>
                  <a:pt x="2104134" y="1263347"/>
                </a:cubicBezTo>
                <a:cubicBezTo>
                  <a:pt x="2160965" y="1205674"/>
                  <a:pt x="2191887" y="1127372"/>
                  <a:pt x="2189859" y="1046428"/>
                </a:cubicBezTo>
                <a:cubicBezTo>
                  <a:pt x="2266666" y="1047844"/>
                  <a:pt x="2341107" y="1019753"/>
                  <a:pt x="2397823" y="967936"/>
                </a:cubicBezTo>
                <a:cubicBezTo>
                  <a:pt x="2454501" y="916118"/>
                  <a:pt x="2489173" y="844512"/>
                  <a:pt x="2494684" y="767898"/>
                </a:cubicBezTo>
                <a:cubicBezTo>
                  <a:pt x="2500157" y="691281"/>
                  <a:pt x="2476085" y="615464"/>
                  <a:pt x="2427329" y="556113"/>
                </a:cubicBezTo>
                <a:lnTo>
                  <a:pt x="2658786" y="328937"/>
                </a:lnTo>
                <a:cubicBezTo>
                  <a:pt x="2709954" y="277923"/>
                  <a:pt x="2792772" y="277923"/>
                  <a:pt x="2843933" y="328937"/>
                </a:cubicBezTo>
                <a:close/>
                <a:moveTo>
                  <a:pt x="2287564" y="172094"/>
                </a:moveTo>
                <a:lnTo>
                  <a:pt x="2287603" y="172055"/>
                </a:lnTo>
                <a:cubicBezTo>
                  <a:pt x="2360545" y="181240"/>
                  <a:pt x="2428397" y="214420"/>
                  <a:pt x="2480489" y="266353"/>
                </a:cubicBezTo>
                <a:lnTo>
                  <a:pt x="2315887" y="431836"/>
                </a:lnTo>
                <a:lnTo>
                  <a:pt x="2113596" y="229545"/>
                </a:lnTo>
                <a:lnTo>
                  <a:pt x="2113596" y="229507"/>
                </a:lnTo>
                <a:cubicBezTo>
                  <a:pt x="2162926" y="190356"/>
                  <a:pt x="2224617" y="169997"/>
                  <a:pt x="2287612" y="172063"/>
                </a:cubicBezTo>
                <a:close/>
                <a:moveTo>
                  <a:pt x="1702910" y="376991"/>
                </a:moveTo>
                <a:lnTo>
                  <a:pt x="1702948" y="376953"/>
                </a:lnTo>
                <a:cubicBezTo>
                  <a:pt x="1702948" y="305005"/>
                  <a:pt x="1761272" y="246641"/>
                  <a:pt x="1833260" y="246641"/>
                </a:cubicBezTo>
                <a:cubicBezTo>
                  <a:pt x="1867856" y="246679"/>
                  <a:pt x="1901075" y="260227"/>
                  <a:pt x="1925835" y="284376"/>
                </a:cubicBezTo>
                <a:lnTo>
                  <a:pt x="2292729" y="652151"/>
                </a:lnTo>
                <a:lnTo>
                  <a:pt x="2292729" y="652112"/>
                </a:lnTo>
                <a:cubicBezTo>
                  <a:pt x="2317413" y="676452"/>
                  <a:pt x="2331267" y="709632"/>
                  <a:pt x="2331267" y="744266"/>
                </a:cubicBezTo>
                <a:cubicBezTo>
                  <a:pt x="2331267" y="778901"/>
                  <a:pt x="2317413" y="812119"/>
                  <a:pt x="2292729" y="836420"/>
                </a:cubicBezTo>
                <a:cubicBezTo>
                  <a:pt x="2241103" y="885521"/>
                  <a:pt x="2160046" y="885521"/>
                  <a:pt x="2108425" y="836420"/>
                </a:cubicBezTo>
                <a:lnTo>
                  <a:pt x="1741531" y="468684"/>
                </a:lnTo>
                <a:cubicBezTo>
                  <a:pt x="1716962" y="444459"/>
                  <a:pt x="1703070" y="411432"/>
                  <a:pt x="1702955" y="376951"/>
                </a:cubicBezTo>
                <a:close/>
                <a:moveTo>
                  <a:pt x="1435438" y="590461"/>
                </a:moveTo>
                <a:lnTo>
                  <a:pt x="1435477" y="590423"/>
                </a:lnTo>
                <a:cubicBezTo>
                  <a:pt x="1459817" y="565739"/>
                  <a:pt x="1492996" y="551885"/>
                  <a:pt x="1527630" y="551885"/>
                </a:cubicBezTo>
                <a:cubicBezTo>
                  <a:pt x="1562265" y="551885"/>
                  <a:pt x="1595483" y="565739"/>
                  <a:pt x="1619784" y="590423"/>
                </a:cubicBezTo>
                <a:lnTo>
                  <a:pt x="1987559" y="957316"/>
                </a:lnTo>
                <a:cubicBezTo>
                  <a:pt x="2037999" y="1008406"/>
                  <a:pt x="2037999" y="1090538"/>
                  <a:pt x="1987559" y="1141620"/>
                </a:cubicBezTo>
                <a:cubicBezTo>
                  <a:pt x="1936086" y="1191142"/>
                  <a:pt x="1854690" y="1191142"/>
                  <a:pt x="1803255" y="1141620"/>
                </a:cubicBezTo>
                <a:lnTo>
                  <a:pt x="1581213" y="921302"/>
                </a:lnTo>
                <a:lnTo>
                  <a:pt x="1435480" y="775569"/>
                </a:lnTo>
                <a:cubicBezTo>
                  <a:pt x="1385156" y="724785"/>
                  <a:pt x="1385156" y="642926"/>
                  <a:pt x="1435480" y="592098"/>
                </a:cubicBezTo>
                <a:close/>
                <a:moveTo>
                  <a:pt x="1276009" y="1040522"/>
                </a:moveTo>
                <a:lnTo>
                  <a:pt x="1276048" y="1040484"/>
                </a:lnTo>
                <a:cubicBezTo>
                  <a:pt x="1326832" y="990121"/>
                  <a:pt x="1408691" y="990121"/>
                  <a:pt x="1459480" y="1040484"/>
                </a:cubicBezTo>
                <a:lnTo>
                  <a:pt x="1682365" y="1264212"/>
                </a:lnTo>
                <a:cubicBezTo>
                  <a:pt x="1732804" y="1315302"/>
                  <a:pt x="1732804" y="1397433"/>
                  <a:pt x="1682365" y="1448515"/>
                </a:cubicBezTo>
                <a:cubicBezTo>
                  <a:pt x="1630930" y="1498037"/>
                  <a:pt x="1549525" y="1498037"/>
                  <a:pt x="1498061" y="1448515"/>
                </a:cubicBezTo>
                <a:lnTo>
                  <a:pt x="1276018" y="1226473"/>
                </a:lnTo>
                <a:lnTo>
                  <a:pt x="1276056" y="1226473"/>
                </a:lnTo>
                <a:cubicBezTo>
                  <a:pt x="1250837" y="1202095"/>
                  <a:pt x="1236639" y="1168532"/>
                  <a:pt x="1236639" y="1133477"/>
                </a:cubicBezTo>
                <a:cubicBezTo>
                  <a:pt x="1236639" y="1098421"/>
                  <a:pt x="1250837" y="1064858"/>
                  <a:pt x="1276056" y="1040480"/>
                </a:cubicBezTo>
                <a:close/>
                <a:moveTo>
                  <a:pt x="1115738" y="1491387"/>
                </a:moveTo>
                <a:cubicBezTo>
                  <a:pt x="1140078" y="1466741"/>
                  <a:pt x="1173258" y="1452849"/>
                  <a:pt x="1207892" y="1452849"/>
                </a:cubicBezTo>
                <a:cubicBezTo>
                  <a:pt x="1242526" y="1452849"/>
                  <a:pt x="1275707" y="1466741"/>
                  <a:pt x="1300046" y="1491387"/>
                </a:cubicBezTo>
                <a:lnTo>
                  <a:pt x="1376357" y="1568539"/>
                </a:lnTo>
                <a:cubicBezTo>
                  <a:pt x="1400964" y="1592726"/>
                  <a:pt x="1414818" y="1625753"/>
                  <a:pt x="1414818" y="1660273"/>
                </a:cubicBezTo>
                <a:cubicBezTo>
                  <a:pt x="1414818" y="1694754"/>
                  <a:pt x="1400964" y="1727819"/>
                  <a:pt x="1376357" y="1752007"/>
                </a:cubicBezTo>
                <a:cubicBezTo>
                  <a:pt x="1325381" y="1801872"/>
                  <a:pt x="1243870" y="1801872"/>
                  <a:pt x="1192886" y="1752007"/>
                </a:cubicBezTo>
                <a:lnTo>
                  <a:pt x="1115733" y="1675696"/>
                </a:lnTo>
                <a:cubicBezTo>
                  <a:pt x="1065293" y="1624605"/>
                  <a:pt x="1065293" y="1542474"/>
                  <a:pt x="1115733" y="1491392"/>
                </a:cubicBezTo>
                <a:close/>
              </a:path>
            </a:pathLst>
          </a:custGeom>
          <a:solidFill>
            <a:schemeClr val="accent1"/>
          </a:solidFill>
          <a:ln w="9797" cap="flat">
            <a:noFill/>
            <a:prstDash val="solid"/>
            <a:miter/>
          </a:ln>
        </p:spPr>
        <p:txBody>
          <a:bodyPr rtlCol="0" anchor="ctr"/>
          <a:lstStyle/>
          <a:p>
            <a:endParaRPr lang="de-DE"/>
          </a:p>
        </p:txBody>
      </p:sp>
      <p:cxnSp>
        <p:nvCxnSpPr>
          <p:cNvPr id="124" name="Straight Connector 123">
            <a:extLst>
              <a:ext uri="{FF2B5EF4-FFF2-40B4-BE49-F238E27FC236}">
                <a16:creationId xmlns:a16="http://schemas.microsoft.com/office/drawing/2014/main" id="{7EE1999D-9F70-492D-BA41-CEFF0FFE95C2}"/>
              </a:ext>
            </a:extLst>
          </p:cNvPr>
          <p:cNvCxnSpPr>
            <a:cxnSpLocks/>
          </p:cNvCxnSpPr>
          <p:nvPr/>
        </p:nvCxnSpPr>
        <p:spPr>
          <a:xfrm>
            <a:off x="4212000" y="4025818"/>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2471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8" name="Rectangle 4">
            <a:extLst>
              <a:ext uri="{FF2B5EF4-FFF2-40B4-BE49-F238E27FC236}">
                <a16:creationId xmlns:a16="http://schemas.microsoft.com/office/drawing/2014/main" id="{0BD552FA-B89C-41FD-A234-272DA23041A5}"/>
              </a:ext>
            </a:extLst>
          </p:cNvPr>
          <p:cNvSpPr>
            <a:spLocks noChangeArrowheads="1"/>
          </p:cNvSpPr>
          <p:nvPr/>
        </p:nvSpPr>
        <p:spPr bwMode="auto">
          <a:xfrm>
            <a:off x="9532798" y="5611179"/>
            <a:ext cx="724763" cy="616704"/>
          </a:xfrm>
          <a:prstGeom prst="rect">
            <a:avLst/>
          </a:prstGeom>
          <a:noFill/>
          <a:ln w="9525" cap="flat" cmpd="sng" algn="ctr">
            <a:no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n-cs"/>
              </a:rPr>
              <a:t>Potential future Data Governance Council</a:t>
            </a:r>
            <a:endParaRPr kumimoji="0" lang="en-US" sz="11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a:t>
            </a:r>
          </a:p>
        </p:txBody>
      </p:sp>
      <p:grpSp>
        <p:nvGrpSpPr>
          <p:cNvPr id="98" name="Group 97">
            <a:extLst>
              <a:ext uri="{FF2B5EF4-FFF2-40B4-BE49-F238E27FC236}">
                <a16:creationId xmlns:a16="http://schemas.microsoft.com/office/drawing/2014/main" id="{7B9B2B9D-5E8B-471A-BC59-E35BFFDA166F}"/>
              </a:ext>
            </a:extLst>
          </p:cNvPr>
          <p:cNvGrpSpPr>
            <a:grpSpLocks noChangeAspect="1"/>
          </p:cNvGrpSpPr>
          <p:nvPr/>
        </p:nvGrpSpPr>
        <p:grpSpPr>
          <a:xfrm>
            <a:off x="241204" y="2252503"/>
            <a:ext cx="452202" cy="565589"/>
            <a:chOff x="4881563" y="1509713"/>
            <a:chExt cx="531812" cy="665162"/>
          </a:xfrm>
          <a:solidFill>
            <a:schemeClr val="accent1"/>
          </a:solidFill>
        </p:grpSpPr>
        <p:sp>
          <p:nvSpPr>
            <p:cNvPr id="99" name="Freeform 25">
              <a:extLst>
                <a:ext uri="{FF2B5EF4-FFF2-40B4-BE49-F238E27FC236}">
                  <a16:creationId xmlns:a16="http://schemas.microsoft.com/office/drawing/2014/main" id="{FA239FCB-17A5-4120-920A-E28EF220FC0D}"/>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Freeform 26">
              <a:extLst>
                <a:ext uri="{FF2B5EF4-FFF2-40B4-BE49-F238E27FC236}">
                  <a16:creationId xmlns:a16="http://schemas.microsoft.com/office/drawing/2014/main" id="{0788B6B9-3157-4C8B-84A2-D15DF3AAEAE6}"/>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27">
              <a:extLst>
                <a:ext uri="{FF2B5EF4-FFF2-40B4-BE49-F238E27FC236}">
                  <a16:creationId xmlns:a16="http://schemas.microsoft.com/office/drawing/2014/main" id="{9CD3FF37-A2AA-4A89-ACEC-53EDAE207239}"/>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Freeform 28">
              <a:extLst>
                <a:ext uri="{FF2B5EF4-FFF2-40B4-BE49-F238E27FC236}">
                  <a16:creationId xmlns:a16="http://schemas.microsoft.com/office/drawing/2014/main" id="{1C204C61-4F12-41F7-A723-0218AEB59AF8}"/>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29">
              <a:extLst>
                <a:ext uri="{FF2B5EF4-FFF2-40B4-BE49-F238E27FC236}">
                  <a16:creationId xmlns:a16="http://schemas.microsoft.com/office/drawing/2014/main" id="{0674F84E-28DE-427F-8F9B-4937544F5ED1}"/>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30">
              <a:extLst>
                <a:ext uri="{FF2B5EF4-FFF2-40B4-BE49-F238E27FC236}">
                  <a16:creationId xmlns:a16="http://schemas.microsoft.com/office/drawing/2014/main" id="{9A88F9CC-B4BC-454E-A701-941DF310C195}"/>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5" name="Group 104">
            <a:extLst>
              <a:ext uri="{FF2B5EF4-FFF2-40B4-BE49-F238E27FC236}">
                <a16:creationId xmlns:a16="http://schemas.microsoft.com/office/drawing/2014/main" id="{B87E6498-FFDB-4C91-A08C-E9369E6D9D70}"/>
              </a:ext>
            </a:extLst>
          </p:cNvPr>
          <p:cNvGrpSpPr>
            <a:grpSpLocks noChangeAspect="1"/>
          </p:cNvGrpSpPr>
          <p:nvPr/>
        </p:nvGrpSpPr>
        <p:grpSpPr>
          <a:xfrm>
            <a:off x="243534" y="3289865"/>
            <a:ext cx="447543" cy="611433"/>
            <a:chOff x="5227638" y="1354138"/>
            <a:chExt cx="901700" cy="1231900"/>
          </a:xfrm>
          <a:solidFill>
            <a:schemeClr val="accent1"/>
          </a:solidFill>
        </p:grpSpPr>
        <p:sp>
          <p:nvSpPr>
            <p:cNvPr id="106" name="Freeform 52">
              <a:extLst>
                <a:ext uri="{FF2B5EF4-FFF2-40B4-BE49-F238E27FC236}">
                  <a16:creationId xmlns:a16="http://schemas.microsoft.com/office/drawing/2014/main" id="{1ED9B286-B66A-4436-AA95-7AC16038AC10}"/>
                </a:ext>
              </a:extLst>
            </p:cNvPr>
            <p:cNvSpPr>
              <a:spLocks noEditPoints="1"/>
            </p:cNvSpPr>
            <p:nvPr/>
          </p:nvSpPr>
          <p:spPr bwMode="auto">
            <a:xfrm>
              <a:off x="5294313" y="1433513"/>
              <a:ext cx="765175" cy="1082675"/>
            </a:xfrm>
            <a:custGeom>
              <a:avLst/>
              <a:gdLst>
                <a:gd name="T0" fmla="*/ 144 w 482"/>
                <a:gd name="T1" fmla="*/ 462 h 682"/>
                <a:gd name="T2" fmla="*/ 114 w 482"/>
                <a:gd name="T3" fmla="*/ 446 h 682"/>
                <a:gd name="T4" fmla="*/ 72 w 482"/>
                <a:gd name="T5" fmla="*/ 414 h 682"/>
                <a:gd name="T6" fmla="*/ 40 w 482"/>
                <a:gd name="T7" fmla="*/ 374 h 682"/>
                <a:gd name="T8" fmla="*/ 16 w 482"/>
                <a:gd name="T9" fmla="*/ 328 h 682"/>
                <a:gd name="T10" fmla="*/ 2 w 482"/>
                <a:gd name="T11" fmla="*/ 278 h 682"/>
                <a:gd name="T12" fmla="*/ 0 w 482"/>
                <a:gd name="T13" fmla="*/ 242 h 682"/>
                <a:gd name="T14" fmla="*/ 10 w 482"/>
                <a:gd name="T15" fmla="*/ 170 h 682"/>
                <a:gd name="T16" fmla="*/ 42 w 482"/>
                <a:gd name="T17" fmla="*/ 108 h 682"/>
                <a:gd name="T18" fmla="*/ 88 w 482"/>
                <a:gd name="T19" fmla="*/ 56 h 682"/>
                <a:gd name="T20" fmla="*/ 148 w 482"/>
                <a:gd name="T21" fmla="*/ 20 h 682"/>
                <a:gd name="T22" fmla="*/ 216 w 482"/>
                <a:gd name="T23" fmla="*/ 2 h 682"/>
                <a:gd name="T24" fmla="*/ 266 w 482"/>
                <a:gd name="T25" fmla="*/ 2 h 682"/>
                <a:gd name="T26" fmla="*/ 334 w 482"/>
                <a:gd name="T27" fmla="*/ 20 h 682"/>
                <a:gd name="T28" fmla="*/ 394 w 482"/>
                <a:gd name="T29" fmla="*/ 56 h 682"/>
                <a:gd name="T30" fmla="*/ 440 w 482"/>
                <a:gd name="T31" fmla="*/ 108 h 682"/>
                <a:gd name="T32" fmla="*/ 470 w 482"/>
                <a:gd name="T33" fmla="*/ 170 h 682"/>
                <a:gd name="T34" fmla="*/ 482 w 482"/>
                <a:gd name="T35" fmla="*/ 242 h 682"/>
                <a:gd name="T36" fmla="*/ 480 w 482"/>
                <a:gd name="T37" fmla="*/ 278 h 682"/>
                <a:gd name="T38" fmla="*/ 466 w 482"/>
                <a:gd name="T39" fmla="*/ 328 h 682"/>
                <a:gd name="T40" fmla="*/ 442 w 482"/>
                <a:gd name="T41" fmla="*/ 374 h 682"/>
                <a:gd name="T42" fmla="*/ 408 w 482"/>
                <a:gd name="T43" fmla="*/ 414 h 682"/>
                <a:gd name="T44" fmla="*/ 366 w 482"/>
                <a:gd name="T45" fmla="*/ 448 h 682"/>
                <a:gd name="T46" fmla="*/ 334 w 482"/>
                <a:gd name="T47" fmla="*/ 682 h 682"/>
                <a:gd name="T48" fmla="*/ 316 w 482"/>
                <a:gd name="T49" fmla="*/ 452 h 682"/>
                <a:gd name="T50" fmla="*/ 338 w 482"/>
                <a:gd name="T51" fmla="*/ 442 h 682"/>
                <a:gd name="T52" fmla="*/ 380 w 482"/>
                <a:gd name="T53" fmla="*/ 416 h 682"/>
                <a:gd name="T54" fmla="*/ 416 w 482"/>
                <a:gd name="T55" fmla="*/ 380 h 682"/>
                <a:gd name="T56" fmla="*/ 442 w 482"/>
                <a:gd name="T57" fmla="*/ 338 h 682"/>
                <a:gd name="T58" fmla="*/ 458 w 482"/>
                <a:gd name="T59" fmla="*/ 292 h 682"/>
                <a:gd name="T60" fmla="*/ 464 w 482"/>
                <a:gd name="T61" fmla="*/ 242 h 682"/>
                <a:gd name="T62" fmla="*/ 460 w 482"/>
                <a:gd name="T63" fmla="*/ 196 h 682"/>
                <a:gd name="T64" fmla="*/ 436 w 482"/>
                <a:gd name="T65" fmla="*/ 136 h 682"/>
                <a:gd name="T66" fmla="*/ 398 w 482"/>
                <a:gd name="T67" fmla="*/ 84 h 682"/>
                <a:gd name="T68" fmla="*/ 348 w 482"/>
                <a:gd name="T69" fmla="*/ 46 h 682"/>
                <a:gd name="T70" fmla="*/ 286 w 482"/>
                <a:gd name="T71" fmla="*/ 24 h 682"/>
                <a:gd name="T72" fmla="*/ 240 w 482"/>
                <a:gd name="T73" fmla="*/ 18 h 682"/>
                <a:gd name="T74" fmla="*/ 174 w 482"/>
                <a:gd name="T75" fmla="*/ 28 h 682"/>
                <a:gd name="T76" fmla="*/ 116 w 482"/>
                <a:gd name="T77" fmla="*/ 56 h 682"/>
                <a:gd name="T78" fmla="*/ 70 w 482"/>
                <a:gd name="T79" fmla="*/ 100 h 682"/>
                <a:gd name="T80" fmla="*/ 36 w 482"/>
                <a:gd name="T81" fmla="*/ 156 h 682"/>
                <a:gd name="T82" fmla="*/ 20 w 482"/>
                <a:gd name="T83" fmla="*/ 218 h 682"/>
                <a:gd name="T84" fmla="*/ 18 w 482"/>
                <a:gd name="T85" fmla="*/ 258 h 682"/>
                <a:gd name="T86" fmla="*/ 28 w 482"/>
                <a:gd name="T87" fmla="*/ 308 h 682"/>
                <a:gd name="T88" fmla="*/ 56 w 482"/>
                <a:gd name="T89" fmla="*/ 366 h 682"/>
                <a:gd name="T90" fmla="*/ 100 w 482"/>
                <a:gd name="T91" fmla="*/ 414 h 682"/>
                <a:gd name="T92" fmla="*/ 142 w 482"/>
                <a:gd name="T93" fmla="*/ 442 h 682"/>
                <a:gd name="T94" fmla="*/ 162 w 482"/>
                <a:gd name="T95" fmla="*/ 6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2" h="682">
                  <a:moveTo>
                    <a:pt x="334" y="682"/>
                  </a:moveTo>
                  <a:lnTo>
                    <a:pt x="144" y="682"/>
                  </a:lnTo>
                  <a:lnTo>
                    <a:pt x="144" y="462"/>
                  </a:lnTo>
                  <a:lnTo>
                    <a:pt x="144" y="462"/>
                  </a:lnTo>
                  <a:lnTo>
                    <a:pt x="128" y="454"/>
                  </a:lnTo>
                  <a:lnTo>
                    <a:pt x="114" y="446"/>
                  </a:lnTo>
                  <a:lnTo>
                    <a:pt x="98" y="436"/>
                  </a:lnTo>
                  <a:lnTo>
                    <a:pt x="86" y="426"/>
                  </a:lnTo>
                  <a:lnTo>
                    <a:pt x="72" y="414"/>
                  </a:lnTo>
                  <a:lnTo>
                    <a:pt x="60" y="402"/>
                  </a:lnTo>
                  <a:lnTo>
                    <a:pt x="50" y="388"/>
                  </a:lnTo>
                  <a:lnTo>
                    <a:pt x="40" y="374"/>
                  </a:lnTo>
                  <a:lnTo>
                    <a:pt x="30" y="360"/>
                  </a:lnTo>
                  <a:lnTo>
                    <a:pt x="22" y="344"/>
                  </a:lnTo>
                  <a:lnTo>
                    <a:pt x="16" y="328"/>
                  </a:lnTo>
                  <a:lnTo>
                    <a:pt x="10" y="312"/>
                  </a:lnTo>
                  <a:lnTo>
                    <a:pt x="6" y="294"/>
                  </a:lnTo>
                  <a:lnTo>
                    <a:pt x="2" y="278"/>
                  </a:lnTo>
                  <a:lnTo>
                    <a:pt x="0" y="260"/>
                  </a:lnTo>
                  <a:lnTo>
                    <a:pt x="0" y="242"/>
                  </a:lnTo>
                  <a:lnTo>
                    <a:pt x="0" y="242"/>
                  </a:lnTo>
                  <a:lnTo>
                    <a:pt x="2" y="218"/>
                  </a:lnTo>
                  <a:lnTo>
                    <a:pt x="4" y="194"/>
                  </a:lnTo>
                  <a:lnTo>
                    <a:pt x="10" y="170"/>
                  </a:lnTo>
                  <a:lnTo>
                    <a:pt x="20" y="148"/>
                  </a:lnTo>
                  <a:lnTo>
                    <a:pt x="30" y="126"/>
                  </a:lnTo>
                  <a:lnTo>
                    <a:pt x="42" y="108"/>
                  </a:lnTo>
                  <a:lnTo>
                    <a:pt x="56" y="88"/>
                  </a:lnTo>
                  <a:lnTo>
                    <a:pt x="70" y="72"/>
                  </a:lnTo>
                  <a:lnTo>
                    <a:pt x="88" y="56"/>
                  </a:lnTo>
                  <a:lnTo>
                    <a:pt x="106" y="42"/>
                  </a:lnTo>
                  <a:lnTo>
                    <a:pt x="126" y="30"/>
                  </a:lnTo>
                  <a:lnTo>
                    <a:pt x="148" y="20"/>
                  </a:lnTo>
                  <a:lnTo>
                    <a:pt x="170" y="12"/>
                  </a:lnTo>
                  <a:lnTo>
                    <a:pt x="192" y="6"/>
                  </a:lnTo>
                  <a:lnTo>
                    <a:pt x="216" y="2"/>
                  </a:lnTo>
                  <a:lnTo>
                    <a:pt x="240" y="0"/>
                  </a:lnTo>
                  <a:lnTo>
                    <a:pt x="240" y="0"/>
                  </a:lnTo>
                  <a:lnTo>
                    <a:pt x="266" y="2"/>
                  </a:lnTo>
                  <a:lnTo>
                    <a:pt x="290" y="6"/>
                  </a:lnTo>
                  <a:lnTo>
                    <a:pt x="312" y="12"/>
                  </a:lnTo>
                  <a:lnTo>
                    <a:pt x="334" y="20"/>
                  </a:lnTo>
                  <a:lnTo>
                    <a:pt x="356" y="30"/>
                  </a:lnTo>
                  <a:lnTo>
                    <a:pt x="376" y="42"/>
                  </a:lnTo>
                  <a:lnTo>
                    <a:pt x="394" y="56"/>
                  </a:lnTo>
                  <a:lnTo>
                    <a:pt x="412" y="72"/>
                  </a:lnTo>
                  <a:lnTo>
                    <a:pt x="426" y="88"/>
                  </a:lnTo>
                  <a:lnTo>
                    <a:pt x="440" y="108"/>
                  </a:lnTo>
                  <a:lnTo>
                    <a:pt x="452" y="126"/>
                  </a:lnTo>
                  <a:lnTo>
                    <a:pt x="462" y="148"/>
                  </a:lnTo>
                  <a:lnTo>
                    <a:pt x="470" y="170"/>
                  </a:lnTo>
                  <a:lnTo>
                    <a:pt x="476" y="194"/>
                  </a:lnTo>
                  <a:lnTo>
                    <a:pt x="480" y="218"/>
                  </a:lnTo>
                  <a:lnTo>
                    <a:pt x="482" y="242"/>
                  </a:lnTo>
                  <a:lnTo>
                    <a:pt x="482" y="242"/>
                  </a:lnTo>
                  <a:lnTo>
                    <a:pt x="482" y="260"/>
                  </a:lnTo>
                  <a:lnTo>
                    <a:pt x="480" y="278"/>
                  </a:lnTo>
                  <a:lnTo>
                    <a:pt x="476" y="296"/>
                  </a:lnTo>
                  <a:lnTo>
                    <a:pt x="472" y="312"/>
                  </a:lnTo>
                  <a:lnTo>
                    <a:pt x="466" y="328"/>
                  </a:lnTo>
                  <a:lnTo>
                    <a:pt x="458" y="344"/>
                  </a:lnTo>
                  <a:lnTo>
                    <a:pt x="450" y="360"/>
                  </a:lnTo>
                  <a:lnTo>
                    <a:pt x="442" y="374"/>
                  </a:lnTo>
                  <a:lnTo>
                    <a:pt x="432" y="390"/>
                  </a:lnTo>
                  <a:lnTo>
                    <a:pt x="420" y="402"/>
                  </a:lnTo>
                  <a:lnTo>
                    <a:pt x="408" y="414"/>
                  </a:lnTo>
                  <a:lnTo>
                    <a:pt x="396" y="426"/>
                  </a:lnTo>
                  <a:lnTo>
                    <a:pt x="382" y="438"/>
                  </a:lnTo>
                  <a:lnTo>
                    <a:pt x="366" y="448"/>
                  </a:lnTo>
                  <a:lnTo>
                    <a:pt x="352" y="456"/>
                  </a:lnTo>
                  <a:lnTo>
                    <a:pt x="334" y="464"/>
                  </a:lnTo>
                  <a:lnTo>
                    <a:pt x="334" y="682"/>
                  </a:lnTo>
                  <a:close/>
                  <a:moveTo>
                    <a:pt x="162" y="664"/>
                  </a:moveTo>
                  <a:lnTo>
                    <a:pt x="316" y="664"/>
                  </a:lnTo>
                  <a:lnTo>
                    <a:pt x="316" y="452"/>
                  </a:lnTo>
                  <a:lnTo>
                    <a:pt x="322" y="450"/>
                  </a:lnTo>
                  <a:lnTo>
                    <a:pt x="322" y="450"/>
                  </a:lnTo>
                  <a:lnTo>
                    <a:pt x="338" y="442"/>
                  </a:lnTo>
                  <a:lnTo>
                    <a:pt x="354" y="434"/>
                  </a:lnTo>
                  <a:lnTo>
                    <a:pt x="368" y="426"/>
                  </a:lnTo>
                  <a:lnTo>
                    <a:pt x="380" y="416"/>
                  </a:lnTo>
                  <a:lnTo>
                    <a:pt x="394" y="404"/>
                  </a:lnTo>
                  <a:lnTo>
                    <a:pt x="404" y="392"/>
                  </a:lnTo>
                  <a:lnTo>
                    <a:pt x="416" y="380"/>
                  </a:lnTo>
                  <a:lnTo>
                    <a:pt x="426" y="368"/>
                  </a:lnTo>
                  <a:lnTo>
                    <a:pt x="434" y="354"/>
                  </a:lnTo>
                  <a:lnTo>
                    <a:pt x="442" y="338"/>
                  </a:lnTo>
                  <a:lnTo>
                    <a:pt x="448" y="324"/>
                  </a:lnTo>
                  <a:lnTo>
                    <a:pt x="454" y="308"/>
                  </a:lnTo>
                  <a:lnTo>
                    <a:pt x="458" y="292"/>
                  </a:lnTo>
                  <a:lnTo>
                    <a:pt x="462" y="276"/>
                  </a:lnTo>
                  <a:lnTo>
                    <a:pt x="464" y="258"/>
                  </a:lnTo>
                  <a:lnTo>
                    <a:pt x="464" y="242"/>
                  </a:lnTo>
                  <a:lnTo>
                    <a:pt x="464" y="242"/>
                  </a:lnTo>
                  <a:lnTo>
                    <a:pt x="462" y="218"/>
                  </a:lnTo>
                  <a:lnTo>
                    <a:pt x="460" y="196"/>
                  </a:lnTo>
                  <a:lnTo>
                    <a:pt x="454" y="176"/>
                  </a:lnTo>
                  <a:lnTo>
                    <a:pt x="446" y="156"/>
                  </a:lnTo>
                  <a:lnTo>
                    <a:pt x="436" y="136"/>
                  </a:lnTo>
                  <a:lnTo>
                    <a:pt x="426" y="118"/>
                  </a:lnTo>
                  <a:lnTo>
                    <a:pt x="412" y="100"/>
                  </a:lnTo>
                  <a:lnTo>
                    <a:pt x="398" y="84"/>
                  </a:lnTo>
                  <a:lnTo>
                    <a:pt x="382" y="70"/>
                  </a:lnTo>
                  <a:lnTo>
                    <a:pt x="366" y="56"/>
                  </a:lnTo>
                  <a:lnTo>
                    <a:pt x="348" y="46"/>
                  </a:lnTo>
                  <a:lnTo>
                    <a:pt x="328" y="36"/>
                  </a:lnTo>
                  <a:lnTo>
                    <a:pt x="308" y="28"/>
                  </a:lnTo>
                  <a:lnTo>
                    <a:pt x="286" y="24"/>
                  </a:lnTo>
                  <a:lnTo>
                    <a:pt x="264" y="20"/>
                  </a:lnTo>
                  <a:lnTo>
                    <a:pt x="240" y="18"/>
                  </a:lnTo>
                  <a:lnTo>
                    <a:pt x="240" y="18"/>
                  </a:lnTo>
                  <a:lnTo>
                    <a:pt x="218" y="20"/>
                  </a:lnTo>
                  <a:lnTo>
                    <a:pt x="196" y="24"/>
                  </a:lnTo>
                  <a:lnTo>
                    <a:pt x="174" y="28"/>
                  </a:lnTo>
                  <a:lnTo>
                    <a:pt x="154" y="36"/>
                  </a:lnTo>
                  <a:lnTo>
                    <a:pt x="134" y="46"/>
                  </a:lnTo>
                  <a:lnTo>
                    <a:pt x="116" y="56"/>
                  </a:lnTo>
                  <a:lnTo>
                    <a:pt x="100" y="70"/>
                  </a:lnTo>
                  <a:lnTo>
                    <a:pt x="84" y="84"/>
                  </a:lnTo>
                  <a:lnTo>
                    <a:pt x="70" y="100"/>
                  </a:lnTo>
                  <a:lnTo>
                    <a:pt x="56" y="118"/>
                  </a:lnTo>
                  <a:lnTo>
                    <a:pt x="46" y="136"/>
                  </a:lnTo>
                  <a:lnTo>
                    <a:pt x="36" y="156"/>
                  </a:lnTo>
                  <a:lnTo>
                    <a:pt x="28" y="176"/>
                  </a:lnTo>
                  <a:lnTo>
                    <a:pt x="22" y="196"/>
                  </a:lnTo>
                  <a:lnTo>
                    <a:pt x="20" y="218"/>
                  </a:lnTo>
                  <a:lnTo>
                    <a:pt x="18" y="242"/>
                  </a:lnTo>
                  <a:lnTo>
                    <a:pt x="18" y="242"/>
                  </a:lnTo>
                  <a:lnTo>
                    <a:pt x="18" y="258"/>
                  </a:lnTo>
                  <a:lnTo>
                    <a:pt x="20" y="276"/>
                  </a:lnTo>
                  <a:lnTo>
                    <a:pt x="24" y="292"/>
                  </a:lnTo>
                  <a:lnTo>
                    <a:pt x="28" y="308"/>
                  </a:lnTo>
                  <a:lnTo>
                    <a:pt x="34" y="324"/>
                  </a:lnTo>
                  <a:lnTo>
                    <a:pt x="40" y="338"/>
                  </a:lnTo>
                  <a:lnTo>
                    <a:pt x="56" y="366"/>
                  </a:lnTo>
                  <a:lnTo>
                    <a:pt x="76" y="392"/>
                  </a:lnTo>
                  <a:lnTo>
                    <a:pt x="88" y="404"/>
                  </a:lnTo>
                  <a:lnTo>
                    <a:pt x="100" y="414"/>
                  </a:lnTo>
                  <a:lnTo>
                    <a:pt x="114" y="424"/>
                  </a:lnTo>
                  <a:lnTo>
                    <a:pt x="128" y="434"/>
                  </a:lnTo>
                  <a:lnTo>
                    <a:pt x="142" y="442"/>
                  </a:lnTo>
                  <a:lnTo>
                    <a:pt x="158" y="448"/>
                  </a:lnTo>
                  <a:lnTo>
                    <a:pt x="162" y="450"/>
                  </a:lnTo>
                  <a:lnTo>
                    <a:pt x="162" y="6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53">
              <a:extLst>
                <a:ext uri="{FF2B5EF4-FFF2-40B4-BE49-F238E27FC236}">
                  <a16:creationId xmlns:a16="http://schemas.microsoft.com/office/drawing/2014/main" id="{BE88D813-E831-4551-AE98-985F6879DC9E}"/>
                </a:ext>
              </a:extLst>
            </p:cNvPr>
            <p:cNvSpPr>
              <a:spLocks noEditPoints="1"/>
            </p:cNvSpPr>
            <p:nvPr/>
          </p:nvSpPr>
          <p:spPr bwMode="auto">
            <a:xfrm>
              <a:off x="5595938" y="2487613"/>
              <a:ext cx="161925" cy="98425"/>
            </a:xfrm>
            <a:custGeom>
              <a:avLst/>
              <a:gdLst>
                <a:gd name="T0" fmla="*/ 76 w 102"/>
                <a:gd name="T1" fmla="*/ 62 h 62"/>
                <a:gd name="T2" fmla="*/ 26 w 102"/>
                <a:gd name="T3" fmla="*/ 62 h 62"/>
                <a:gd name="T4" fmla="*/ 0 w 102"/>
                <a:gd name="T5" fmla="*/ 0 h 62"/>
                <a:gd name="T6" fmla="*/ 102 w 102"/>
                <a:gd name="T7" fmla="*/ 0 h 62"/>
                <a:gd name="T8" fmla="*/ 76 w 102"/>
                <a:gd name="T9" fmla="*/ 62 h 62"/>
                <a:gd name="T10" fmla="*/ 38 w 102"/>
                <a:gd name="T11" fmla="*/ 44 h 62"/>
                <a:gd name="T12" fmla="*/ 64 w 102"/>
                <a:gd name="T13" fmla="*/ 44 h 62"/>
                <a:gd name="T14" fmla="*/ 74 w 102"/>
                <a:gd name="T15" fmla="*/ 18 h 62"/>
                <a:gd name="T16" fmla="*/ 28 w 102"/>
                <a:gd name="T17" fmla="*/ 18 h 62"/>
                <a:gd name="T18" fmla="*/ 38 w 102"/>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2">
                  <a:moveTo>
                    <a:pt x="76" y="62"/>
                  </a:moveTo>
                  <a:lnTo>
                    <a:pt x="26" y="62"/>
                  </a:lnTo>
                  <a:lnTo>
                    <a:pt x="0" y="0"/>
                  </a:lnTo>
                  <a:lnTo>
                    <a:pt x="102" y="0"/>
                  </a:lnTo>
                  <a:lnTo>
                    <a:pt x="76" y="62"/>
                  </a:lnTo>
                  <a:close/>
                  <a:moveTo>
                    <a:pt x="38" y="44"/>
                  </a:moveTo>
                  <a:lnTo>
                    <a:pt x="64" y="44"/>
                  </a:lnTo>
                  <a:lnTo>
                    <a:pt x="74" y="18"/>
                  </a:lnTo>
                  <a:lnTo>
                    <a:pt x="28" y="18"/>
                  </a:lnTo>
                  <a:lnTo>
                    <a:pt x="38"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54">
              <a:extLst>
                <a:ext uri="{FF2B5EF4-FFF2-40B4-BE49-F238E27FC236}">
                  <a16:creationId xmlns:a16="http://schemas.microsoft.com/office/drawing/2014/main" id="{0B9E44D1-EC6F-44B1-85B2-CF0249CE5D4F}"/>
                </a:ext>
              </a:extLst>
            </p:cNvPr>
            <p:cNvSpPr>
              <a:spLocks noChangeArrowheads="1"/>
            </p:cNvSpPr>
            <p:nvPr/>
          </p:nvSpPr>
          <p:spPr bwMode="auto">
            <a:xfrm>
              <a:off x="5462588" y="226218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Rectangle 55">
              <a:extLst>
                <a:ext uri="{FF2B5EF4-FFF2-40B4-BE49-F238E27FC236}">
                  <a16:creationId xmlns:a16="http://schemas.microsoft.com/office/drawing/2014/main" id="{426FA769-3DFF-40D1-9A51-F40CCD869868}"/>
                </a:ext>
              </a:extLst>
            </p:cNvPr>
            <p:cNvSpPr>
              <a:spLocks noChangeArrowheads="1"/>
            </p:cNvSpPr>
            <p:nvPr/>
          </p:nvSpPr>
          <p:spPr bwMode="auto">
            <a:xfrm>
              <a:off x="5462588" y="233203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Rectangle 56">
              <a:extLst>
                <a:ext uri="{FF2B5EF4-FFF2-40B4-BE49-F238E27FC236}">
                  <a16:creationId xmlns:a16="http://schemas.microsoft.com/office/drawing/2014/main" id="{E06F04BD-39C4-4A40-AAAB-9D528FCB1673}"/>
                </a:ext>
              </a:extLst>
            </p:cNvPr>
            <p:cNvSpPr>
              <a:spLocks noChangeArrowheads="1"/>
            </p:cNvSpPr>
            <p:nvPr/>
          </p:nvSpPr>
          <p:spPr bwMode="auto">
            <a:xfrm>
              <a:off x="5462588" y="240188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57">
              <a:extLst>
                <a:ext uri="{FF2B5EF4-FFF2-40B4-BE49-F238E27FC236}">
                  <a16:creationId xmlns:a16="http://schemas.microsoft.com/office/drawing/2014/main" id="{3706BA2A-6547-4885-AE16-5BB2A9BE744C}"/>
                </a:ext>
              </a:extLst>
            </p:cNvPr>
            <p:cNvSpPr>
              <a:spLocks noChangeArrowheads="1"/>
            </p:cNvSpPr>
            <p:nvPr/>
          </p:nvSpPr>
          <p:spPr bwMode="auto">
            <a:xfrm>
              <a:off x="5434013" y="14176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Rectangle 58">
              <a:extLst>
                <a:ext uri="{FF2B5EF4-FFF2-40B4-BE49-F238E27FC236}">
                  <a16:creationId xmlns:a16="http://schemas.microsoft.com/office/drawing/2014/main" id="{8F2F0F31-7692-4407-A8A1-9946B87695E1}"/>
                </a:ext>
              </a:extLst>
            </p:cNvPr>
            <p:cNvSpPr>
              <a:spLocks noChangeArrowheads="1"/>
            </p:cNvSpPr>
            <p:nvPr/>
          </p:nvSpPr>
          <p:spPr bwMode="auto">
            <a:xfrm>
              <a:off x="5275263" y="15636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Rectangle 59">
              <a:extLst>
                <a:ext uri="{FF2B5EF4-FFF2-40B4-BE49-F238E27FC236}">
                  <a16:creationId xmlns:a16="http://schemas.microsoft.com/office/drawing/2014/main" id="{3393DC6C-23BF-4137-96A2-37C5305CD12C}"/>
                </a:ext>
              </a:extLst>
            </p:cNvPr>
            <p:cNvSpPr>
              <a:spLocks noChangeArrowheads="1"/>
            </p:cNvSpPr>
            <p:nvPr/>
          </p:nvSpPr>
          <p:spPr bwMode="auto">
            <a:xfrm>
              <a:off x="5662613" y="13541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60">
              <a:extLst>
                <a:ext uri="{FF2B5EF4-FFF2-40B4-BE49-F238E27FC236}">
                  <a16:creationId xmlns:a16="http://schemas.microsoft.com/office/drawing/2014/main" id="{8D2E1E10-A3BC-4C6D-AAE6-043BF501EC26}"/>
                </a:ext>
              </a:extLst>
            </p:cNvPr>
            <p:cNvSpPr>
              <a:spLocks noChangeArrowheads="1"/>
            </p:cNvSpPr>
            <p:nvPr/>
          </p:nvSpPr>
          <p:spPr bwMode="auto">
            <a:xfrm>
              <a:off x="5894388" y="14176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61">
              <a:extLst>
                <a:ext uri="{FF2B5EF4-FFF2-40B4-BE49-F238E27FC236}">
                  <a16:creationId xmlns:a16="http://schemas.microsoft.com/office/drawing/2014/main" id="{9EFDC1DC-37BF-48E4-B636-A51604E902A1}"/>
                </a:ext>
              </a:extLst>
            </p:cNvPr>
            <p:cNvSpPr>
              <a:spLocks noChangeArrowheads="1"/>
            </p:cNvSpPr>
            <p:nvPr/>
          </p:nvSpPr>
          <p:spPr bwMode="auto">
            <a:xfrm>
              <a:off x="6037263" y="15636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Rectangle 62">
              <a:extLst>
                <a:ext uri="{FF2B5EF4-FFF2-40B4-BE49-F238E27FC236}">
                  <a16:creationId xmlns:a16="http://schemas.microsoft.com/office/drawing/2014/main" id="{0D152E0E-FC54-4D20-A996-772C13BEBFD5}"/>
                </a:ext>
              </a:extLst>
            </p:cNvPr>
            <p:cNvSpPr>
              <a:spLocks noChangeArrowheads="1"/>
            </p:cNvSpPr>
            <p:nvPr/>
          </p:nvSpPr>
          <p:spPr bwMode="auto">
            <a:xfrm>
              <a:off x="5275263" y="20208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Rectangle 63">
              <a:extLst>
                <a:ext uri="{FF2B5EF4-FFF2-40B4-BE49-F238E27FC236}">
                  <a16:creationId xmlns:a16="http://schemas.microsoft.com/office/drawing/2014/main" id="{81DA5D0B-76CB-42D1-A61B-3E63024F7904}"/>
                </a:ext>
              </a:extLst>
            </p:cNvPr>
            <p:cNvSpPr>
              <a:spLocks noChangeArrowheads="1"/>
            </p:cNvSpPr>
            <p:nvPr/>
          </p:nvSpPr>
          <p:spPr bwMode="auto">
            <a:xfrm>
              <a:off x="6037263" y="20208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64">
              <a:extLst>
                <a:ext uri="{FF2B5EF4-FFF2-40B4-BE49-F238E27FC236}">
                  <a16:creationId xmlns:a16="http://schemas.microsoft.com/office/drawing/2014/main" id="{A25F966E-1CD8-46BE-8B66-55FFFADAD5DF}"/>
                </a:ext>
              </a:extLst>
            </p:cNvPr>
            <p:cNvSpPr>
              <a:spLocks noChangeArrowheads="1"/>
            </p:cNvSpPr>
            <p:nvPr/>
          </p:nvSpPr>
          <p:spPr bwMode="auto">
            <a:xfrm>
              <a:off x="6100763" y="17827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Rectangle 65">
              <a:extLst>
                <a:ext uri="{FF2B5EF4-FFF2-40B4-BE49-F238E27FC236}">
                  <a16:creationId xmlns:a16="http://schemas.microsoft.com/office/drawing/2014/main" id="{64586E7D-9EE3-4A9D-BD43-DC4B31B66C54}"/>
                </a:ext>
              </a:extLst>
            </p:cNvPr>
            <p:cNvSpPr>
              <a:spLocks noChangeArrowheads="1"/>
            </p:cNvSpPr>
            <p:nvPr/>
          </p:nvSpPr>
          <p:spPr bwMode="auto">
            <a:xfrm>
              <a:off x="5227638" y="17827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66">
              <a:extLst>
                <a:ext uri="{FF2B5EF4-FFF2-40B4-BE49-F238E27FC236}">
                  <a16:creationId xmlns:a16="http://schemas.microsoft.com/office/drawing/2014/main" id="{CBB68797-FAAC-4B78-9E8D-7F59FF1F71AF}"/>
                </a:ext>
              </a:extLst>
            </p:cNvPr>
            <p:cNvSpPr>
              <a:spLocks/>
            </p:cNvSpPr>
            <p:nvPr/>
          </p:nvSpPr>
          <p:spPr bwMode="auto">
            <a:xfrm>
              <a:off x="5395913" y="1531938"/>
              <a:ext cx="561975" cy="758825"/>
            </a:xfrm>
            <a:custGeom>
              <a:avLst/>
              <a:gdLst>
                <a:gd name="T0" fmla="*/ 204 w 354"/>
                <a:gd name="T1" fmla="*/ 342 h 478"/>
                <a:gd name="T2" fmla="*/ 212 w 354"/>
                <a:gd name="T3" fmla="*/ 332 h 478"/>
                <a:gd name="T4" fmla="*/ 238 w 354"/>
                <a:gd name="T5" fmla="*/ 324 h 478"/>
                <a:gd name="T6" fmla="*/ 302 w 354"/>
                <a:gd name="T7" fmla="*/ 276 h 478"/>
                <a:gd name="T8" fmla="*/ 334 w 354"/>
                <a:gd name="T9" fmla="*/ 204 h 478"/>
                <a:gd name="T10" fmla="*/ 336 w 354"/>
                <a:gd name="T11" fmla="*/ 176 h 478"/>
                <a:gd name="T12" fmla="*/ 330 w 354"/>
                <a:gd name="T13" fmla="*/ 130 h 478"/>
                <a:gd name="T14" fmla="*/ 310 w 354"/>
                <a:gd name="T15" fmla="*/ 88 h 478"/>
                <a:gd name="T16" fmla="*/ 278 w 354"/>
                <a:gd name="T17" fmla="*/ 54 h 478"/>
                <a:gd name="T18" fmla="*/ 240 w 354"/>
                <a:gd name="T19" fmla="*/ 30 h 478"/>
                <a:gd name="T20" fmla="*/ 194 w 354"/>
                <a:gd name="T21" fmla="*/ 18 h 478"/>
                <a:gd name="T22" fmla="*/ 160 w 354"/>
                <a:gd name="T23" fmla="*/ 18 h 478"/>
                <a:gd name="T24" fmla="*/ 114 w 354"/>
                <a:gd name="T25" fmla="*/ 30 h 478"/>
                <a:gd name="T26" fmla="*/ 76 w 354"/>
                <a:gd name="T27" fmla="*/ 54 h 478"/>
                <a:gd name="T28" fmla="*/ 44 w 354"/>
                <a:gd name="T29" fmla="*/ 88 h 478"/>
                <a:gd name="T30" fmla="*/ 24 w 354"/>
                <a:gd name="T31" fmla="*/ 130 h 478"/>
                <a:gd name="T32" fmla="*/ 18 w 354"/>
                <a:gd name="T33" fmla="*/ 176 h 478"/>
                <a:gd name="T34" fmla="*/ 20 w 354"/>
                <a:gd name="T35" fmla="*/ 204 h 478"/>
                <a:gd name="T36" fmla="*/ 52 w 354"/>
                <a:gd name="T37" fmla="*/ 276 h 478"/>
                <a:gd name="T38" fmla="*/ 116 w 354"/>
                <a:gd name="T39" fmla="*/ 324 h 478"/>
                <a:gd name="T40" fmla="*/ 142 w 354"/>
                <a:gd name="T41" fmla="*/ 332 h 478"/>
                <a:gd name="T42" fmla="*/ 150 w 354"/>
                <a:gd name="T43" fmla="*/ 478 h 478"/>
                <a:gd name="T44" fmla="*/ 132 w 354"/>
                <a:gd name="T45" fmla="*/ 348 h 478"/>
                <a:gd name="T46" fmla="*/ 90 w 354"/>
                <a:gd name="T47" fmla="*/ 332 h 478"/>
                <a:gd name="T48" fmla="*/ 36 w 354"/>
                <a:gd name="T49" fmla="*/ 286 h 478"/>
                <a:gd name="T50" fmla="*/ 4 w 354"/>
                <a:gd name="T51" fmla="*/ 220 h 478"/>
                <a:gd name="T52" fmla="*/ 0 w 354"/>
                <a:gd name="T53" fmla="*/ 176 h 478"/>
                <a:gd name="T54" fmla="*/ 2 w 354"/>
                <a:gd name="T55" fmla="*/ 142 h 478"/>
                <a:gd name="T56" fmla="*/ 20 w 354"/>
                <a:gd name="T57" fmla="*/ 92 h 478"/>
                <a:gd name="T58" fmla="*/ 52 w 354"/>
                <a:gd name="T59" fmla="*/ 52 h 478"/>
                <a:gd name="T60" fmla="*/ 92 w 354"/>
                <a:gd name="T61" fmla="*/ 20 h 478"/>
                <a:gd name="T62" fmla="*/ 142 w 354"/>
                <a:gd name="T63" fmla="*/ 2 h 478"/>
                <a:gd name="T64" fmla="*/ 176 w 354"/>
                <a:gd name="T65" fmla="*/ 0 h 478"/>
                <a:gd name="T66" fmla="*/ 230 w 354"/>
                <a:gd name="T67" fmla="*/ 8 h 478"/>
                <a:gd name="T68" fmla="*/ 276 w 354"/>
                <a:gd name="T69" fmla="*/ 30 h 478"/>
                <a:gd name="T70" fmla="*/ 314 w 354"/>
                <a:gd name="T71" fmla="*/ 64 h 478"/>
                <a:gd name="T72" fmla="*/ 340 w 354"/>
                <a:gd name="T73" fmla="*/ 108 h 478"/>
                <a:gd name="T74" fmla="*/ 354 w 354"/>
                <a:gd name="T75" fmla="*/ 158 h 478"/>
                <a:gd name="T76" fmla="*/ 354 w 354"/>
                <a:gd name="T77" fmla="*/ 192 h 478"/>
                <a:gd name="T78" fmla="*/ 344 w 354"/>
                <a:gd name="T79" fmla="*/ 234 h 478"/>
                <a:gd name="T80" fmla="*/ 298 w 354"/>
                <a:gd name="T81" fmla="*/ 306 h 478"/>
                <a:gd name="T82" fmla="*/ 250 w 354"/>
                <a:gd name="T83" fmla="*/ 338 h 478"/>
                <a:gd name="T84" fmla="*/ 222 w 354"/>
                <a:gd name="T85"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478">
                  <a:moveTo>
                    <a:pt x="222" y="478"/>
                  </a:moveTo>
                  <a:lnTo>
                    <a:pt x="204" y="478"/>
                  </a:lnTo>
                  <a:lnTo>
                    <a:pt x="204" y="342"/>
                  </a:lnTo>
                  <a:lnTo>
                    <a:pt x="204" y="342"/>
                  </a:lnTo>
                  <a:lnTo>
                    <a:pt x="206" y="336"/>
                  </a:lnTo>
                  <a:lnTo>
                    <a:pt x="212" y="332"/>
                  </a:lnTo>
                  <a:lnTo>
                    <a:pt x="212" y="332"/>
                  </a:lnTo>
                  <a:lnTo>
                    <a:pt x="224" y="330"/>
                  </a:lnTo>
                  <a:lnTo>
                    <a:pt x="238" y="324"/>
                  </a:lnTo>
                  <a:lnTo>
                    <a:pt x="262" y="312"/>
                  </a:lnTo>
                  <a:lnTo>
                    <a:pt x="282" y="296"/>
                  </a:lnTo>
                  <a:lnTo>
                    <a:pt x="302" y="276"/>
                  </a:lnTo>
                  <a:lnTo>
                    <a:pt x="316" y="254"/>
                  </a:lnTo>
                  <a:lnTo>
                    <a:pt x="328" y="230"/>
                  </a:lnTo>
                  <a:lnTo>
                    <a:pt x="334" y="204"/>
                  </a:lnTo>
                  <a:lnTo>
                    <a:pt x="336" y="190"/>
                  </a:lnTo>
                  <a:lnTo>
                    <a:pt x="336" y="176"/>
                  </a:lnTo>
                  <a:lnTo>
                    <a:pt x="336" y="176"/>
                  </a:lnTo>
                  <a:lnTo>
                    <a:pt x="336" y="160"/>
                  </a:lnTo>
                  <a:lnTo>
                    <a:pt x="334" y="144"/>
                  </a:lnTo>
                  <a:lnTo>
                    <a:pt x="330" y="130"/>
                  </a:lnTo>
                  <a:lnTo>
                    <a:pt x="324" y="114"/>
                  </a:lnTo>
                  <a:lnTo>
                    <a:pt x="318" y="100"/>
                  </a:lnTo>
                  <a:lnTo>
                    <a:pt x="310" y="88"/>
                  </a:lnTo>
                  <a:lnTo>
                    <a:pt x="300" y="76"/>
                  </a:lnTo>
                  <a:lnTo>
                    <a:pt x="290" y="64"/>
                  </a:lnTo>
                  <a:lnTo>
                    <a:pt x="278" y="54"/>
                  </a:lnTo>
                  <a:lnTo>
                    <a:pt x="266" y="44"/>
                  </a:lnTo>
                  <a:lnTo>
                    <a:pt x="254" y="36"/>
                  </a:lnTo>
                  <a:lnTo>
                    <a:pt x="240" y="30"/>
                  </a:lnTo>
                  <a:lnTo>
                    <a:pt x="224" y="24"/>
                  </a:lnTo>
                  <a:lnTo>
                    <a:pt x="210" y="20"/>
                  </a:lnTo>
                  <a:lnTo>
                    <a:pt x="194" y="18"/>
                  </a:lnTo>
                  <a:lnTo>
                    <a:pt x="176" y="18"/>
                  </a:lnTo>
                  <a:lnTo>
                    <a:pt x="176" y="18"/>
                  </a:lnTo>
                  <a:lnTo>
                    <a:pt x="160" y="18"/>
                  </a:lnTo>
                  <a:lnTo>
                    <a:pt x="144" y="20"/>
                  </a:lnTo>
                  <a:lnTo>
                    <a:pt x="130" y="24"/>
                  </a:lnTo>
                  <a:lnTo>
                    <a:pt x="114" y="30"/>
                  </a:lnTo>
                  <a:lnTo>
                    <a:pt x="100" y="36"/>
                  </a:lnTo>
                  <a:lnTo>
                    <a:pt x="88" y="44"/>
                  </a:lnTo>
                  <a:lnTo>
                    <a:pt x="76" y="54"/>
                  </a:lnTo>
                  <a:lnTo>
                    <a:pt x="64" y="64"/>
                  </a:lnTo>
                  <a:lnTo>
                    <a:pt x="54" y="76"/>
                  </a:lnTo>
                  <a:lnTo>
                    <a:pt x="44" y="88"/>
                  </a:lnTo>
                  <a:lnTo>
                    <a:pt x="36" y="100"/>
                  </a:lnTo>
                  <a:lnTo>
                    <a:pt x="30" y="114"/>
                  </a:lnTo>
                  <a:lnTo>
                    <a:pt x="24" y="130"/>
                  </a:lnTo>
                  <a:lnTo>
                    <a:pt x="20" y="144"/>
                  </a:lnTo>
                  <a:lnTo>
                    <a:pt x="18" y="160"/>
                  </a:lnTo>
                  <a:lnTo>
                    <a:pt x="18" y="176"/>
                  </a:lnTo>
                  <a:lnTo>
                    <a:pt x="18" y="176"/>
                  </a:lnTo>
                  <a:lnTo>
                    <a:pt x="18" y="190"/>
                  </a:lnTo>
                  <a:lnTo>
                    <a:pt x="20" y="204"/>
                  </a:lnTo>
                  <a:lnTo>
                    <a:pt x="26" y="230"/>
                  </a:lnTo>
                  <a:lnTo>
                    <a:pt x="38" y="254"/>
                  </a:lnTo>
                  <a:lnTo>
                    <a:pt x="52" y="276"/>
                  </a:lnTo>
                  <a:lnTo>
                    <a:pt x="72" y="296"/>
                  </a:lnTo>
                  <a:lnTo>
                    <a:pt x="92" y="312"/>
                  </a:lnTo>
                  <a:lnTo>
                    <a:pt x="116" y="324"/>
                  </a:lnTo>
                  <a:lnTo>
                    <a:pt x="130" y="330"/>
                  </a:lnTo>
                  <a:lnTo>
                    <a:pt x="142" y="332"/>
                  </a:lnTo>
                  <a:lnTo>
                    <a:pt x="142" y="332"/>
                  </a:lnTo>
                  <a:lnTo>
                    <a:pt x="148" y="336"/>
                  </a:lnTo>
                  <a:lnTo>
                    <a:pt x="150" y="342"/>
                  </a:lnTo>
                  <a:lnTo>
                    <a:pt x="150" y="478"/>
                  </a:lnTo>
                  <a:lnTo>
                    <a:pt x="132" y="478"/>
                  </a:lnTo>
                  <a:lnTo>
                    <a:pt x="132" y="348"/>
                  </a:lnTo>
                  <a:lnTo>
                    <a:pt x="132" y="348"/>
                  </a:lnTo>
                  <a:lnTo>
                    <a:pt x="118" y="344"/>
                  </a:lnTo>
                  <a:lnTo>
                    <a:pt x="104" y="338"/>
                  </a:lnTo>
                  <a:lnTo>
                    <a:pt x="90" y="332"/>
                  </a:lnTo>
                  <a:lnTo>
                    <a:pt x="78" y="324"/>
                  </a:lnTo>
                  <a:lnTo>
                    <a:pt x="56" y="306"/>
                  </a:lnTo>
                  <a:lnTo>
                    <a:pt x="36" y="286"/>
                  </a:lnTo>
                  <a:lnTo>
                    <a:pt x="20" y="262"/>
                  </a:lnTo>
                  <a:lnTo>
                    <a:pt x="10" y="234"/>
                  </a:lnTo>
                  <a:lnTo>
                    <a:pt x="4" y="220"/>
                  </a:lnTo>
                  <a:lnTo>
                    <a:pt x="2" y="206"/>
                  </a:lnTo>
                  <a:lnTo>
                    <a:pt x="0" y="192"/>
                  </a:lnTo>
                  <a:lnTo>
                    <a:pt x="0" y="176"/>
                  </a:lnTo>
                  <a:lnTo>
                    <a:pt x="0" y="176"/>
                  </a:lnTo>
                  <a:lnTo>
                    <a:pt x="0" y="158"/>
                  </a:lnTo>
                  <a:lnTo>
                    <a:pt x="2" y="142"/>
                  </a:lnTo>
                  <a:lnTo>
                    <a:pt x="8" y="124"/>
                  </a:lnTo>
                  <a:lnTo>
                    <a:pt x="14" y="108"/>
                  </a:lnTo>
                  <a:lnTo>
                    <a:pt x="20" y="92"/>
                  </a:lnTo>
                  <a:lnTo>
                    <a:pt x="30" y="78"/>
                  </a:lnTo>
                  <a:lnTo>
                    <a:pt x="40" y="64"/>
                  </a:lnTo>
                  <a:lnTo>
                    <a:pt x="52" y="52"/>
                  </a:lnTo>
                  <a:lnTo>
                    <a:pt x="64" y="40"/>
                  </a:lnTo>
                  <a:lnTo>
                    <a:pt x="78" y="30"/>
                  </a:lnTo>
                  <a:lnTo>
                    <a:pt x="92" y="20"/>
                  </a:lnTo>
                  <a:lnTo>
                    <a:pt x="108" y="14"/>
                  </a:lnTo>
                  <a:lnTo>
                    <a:pt x="124" y="8"/>
                  </a:lnTo>
                  <a:lnTo>
                    <a:pt x="142" y="2"/>
                  </a:lnTo>
                  <a:lnTo>
                    <a:pt x="158" y="0"/>
                  </a:lnTo>
                  <a:lnTo>
                    <a:pt x="176" y="0"/>
                  </a:lnTo>
                  <a:lnTo>
                    <a:pt x="176" y="0"/>
                  </a:lnTo>
                  <a:lnTo>
                    <a:pt x="196" y="0"/>
                  </a:lnTo>
                  <a:lnTo>
                    <a:pt x="212" y="2"/>
                  </a:lnTo>
                  <a:lnTo>
                    <a:pt x="230" y="8"/>
                  </a:lnTo>
                  <a:lnTo>
                    <a:pt x="246" y="14"/>
                  </a:lnTo>
                  <a:lnTo>
                    <a:pt x="262" y="20"/>
                  </a:lnTo>
                  <a:lnTo>
                    <a:pt x="276" y="30"/>
                  </a:lnTo>
                  <a:lnTo>
                    <a:pt x="290" y="40"/>
                  </a:lnTo>
                  <a:lnTo>
                    <a:pt x="302" y="52"/>
                  </a:lnTo>
                  <a:lnTo>
                    <a:pt x="314" y="64"/>
                  </a:lnTo>
                  <a:lnTo>
                    <a:pt x="324" y="78"/>
                  </a:lnTo>
                  <a:lnTo>
                    <a:pt x="334" y="92"/>
                  </a:lnTo>
                  <a:lnTo>
                    <a:pt x="340" y="108"/>
                  </a:lnTo>
                  <a:lnTo>
                    <a:pt x="346" y="124"/>
                  </a:lnTo>
                  <a:lnTo>
                    <a:pt x="352" y="142"/>
                  </a:lnTo>
                  <a:lnTo>
                    <a:pt x="354" y="158"/>
                  </a:lnTo>
                  <a:lnTo>
                    <a:pt x="354" y="176"/>
                  </a:lnTo>
                  <a:lnTo>
                    <a:pt x="354" y="176"/>
                  </a:lnTo>
                  <a:lnTo>
                    <a:pt x="354" y="192"/>
                  </a:lnTo>
                  <a:lnTo>
                    <a:pt x="352" y="206"/>
                  </a:lnTo>
                  <a:lnTo>
                    <a:pt x="350" y="220"/>
                  </a:lnTo>
                  <a:lnTo>
                    <a:pt x="344" y="234"/>
                  </a:lnTo>
                  <a:lnTo>
                    <a:pt x="334" y="262"/>
                  </a:lnTo>
                  <a:lnTo>
                    <a:pt x="318" y="286"/>
                  </a:lnTo>
                  <a:lnTo>
                    <a:pt x="298" y="306"/>
                  </a:lnTo>
                  <a:lnTo>
                    <a:pt x="276" y="324"/>
                  </a:lnTo>
                  <a:lnTo>
                    <a:pt x="264" y="332"/>
                  </a:lnTo>
                  <a:lnTo>
                    <a:pt x="250" y="338"/>
                  </a:lnTo>
                  <a:lnTo>
                    <a:pt x="236" y="344"/>
                  </a:lnTo>
                  <a:lnTo>
                    <a:pt x="222" y="348"/>
                  </a:lnTo>
                  <a:lnTo>
                    <a:pt x="222" y="4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67">
              <a:extLst>
                <a:ext uri="{FF2B5EF4-FFF2-40B4-BE49-F238E27FC236}">
                  <a16:creationId xmlns:a16="http://schemas.microsoft.com/office/drawing/2014/main" id="{E541097E-102E-41A6-9F2D-9A86EBD7F109}"/>
                </a:ext>
              </a:extLst>
            </p:cNvPr>
            <p:cNvSpPr>
              <a:spLocks/>
            </p:cNvSpPr>
            <p:nvPr/>
          </p:nvSpPr>
          <p:spPr bwMode="auto">
            <a:xfrm>
              <a:off x="5602288" y="1677988"/>
              <a:ext cx="152400" cy="276225"/>
            </a:xfrm>
            <a:custGeom>
              <a:avLst/>
              <a:gdLst>
                <a:gd name="T0" fmla="*/ 28 w 96"/>
                <a:gd name="T1" fmla="*/ 174 h 174"/>
                <a:gd name="T2" fmla="*/ 16 w 96"/>
                <a:gd name="T3" fmla="*/ 172 h 174"/>
                <a:gd name="T4" fmla="*/ 2 w 96"/>
                <a:gd name="T5" fmla="*/ 156 h 174"/>
                <a:gd name="T6" fmla="*/ 0 w 96"/>
                <a:gd name="T7" fmla="*/ 126 h 174"/>
                <a:gd name="T8" fmla="*/ 18 w 96"/>
                <a:gd name="T9" fmla="*/ 146 h 174"/>
                <a:gd name="T10" fmla="*/ 18 w 96"/>
                <a:gd name="T11" fmla="*/ 150 h 174"/>
                <a:gd name="T12" fmla="*/ 24 w 96"/>
                <a:gd name="T13" fmla="*/ 156 h 174"/>
                <a:gd name="T14" fmla="*/ 68 w 96"/>
                <a:gd name="T15" fmla="*/ 156 h 174"/>
                <a:gd name="T16" fmla="*/ 72 w 96"/>
                <a:gd name="T17" fmla="*/ 156 h 174"/>
                <a:gd name="T18" fmla="*/ 78 w 96"/>
                <a:gd name="T19" fmla="*/ 150 h 174"/>
                <a:gd name="T20" fmla="*/ 78 w 96"/>
                <a:gd name="T21" fmla="*/ 106 h 174"/>
                <a:gd name="T22" fmla="*/ 78 w 96"/>
                <a:gd name="T23" fmla="*/ 102 h 174"/>
                <a:gd name="T24" fmla="*/ 72 w 96"/>
                <a:gd name="T25" fmla="*/ 96 h 174"/>
                <a:gd name="T26" fmla="*/ 28 w 96"/>
                <a:gd name="T27" fmla="*/ 96 h 174"/>
                <a:gd name="T28" fmla="*/ 16 w 96"/>
                <a:gd name="T29" fmla="*/ 94 h 174"/>
                <a:gd name="T30" fmla="*/ 2 w 96"/>
                <a:gd name="T31" fmla="*/ 78 h 174"/>
                <a:gd name="T32" fmla="*/ 0 w 96"/>
                <a:gd name="T33" fmla="*/ 28 h 174"/>
                <a:gd name="T34" fmla="*/ 2 w 96"/>
                <a:gd name="T35" fmla="*/ 16 h 174"/>
                <a:gd name="T36" fmla="*/ 16 w 96"/>
                <a:gd name="T37" fmla="*/ 2 h 174"/>
                <a:gd name="T38" fmla="*/ 68 w 96"/>
                <a:gd name="T39" fmla="*/ 0 h 174"/>
                <a:gd name="T40" fmla="*/ 78 w 96"/>
                <a:gd name="T41" fmla="*/ 2 h 174"/>
                <a:gd name="T42" fmla="*/ 94 w 96"/>
                <a:gd name="T43" fmla="*/ 16 h 174"/>
                <a:gd name="T44" fmla="*/ 96 w 96"/>
                <a:gd name="T45" fmla="*/ 48 h 174"/>
                <a:gd name="T46" fmla="*/ 78 w 96"/>
                <a:gd name="T47" fmla="*/ 28 h 174"/>
                <a:gd name="T48" fmla="*/ 78 w 96"/>
                <a:gd name="T49" fmla="*/ 24 h 174"/>
                <a:gd name="T50" fmla="*/ 72 w 96"/>
                <a:gd name="T51" fmla="*/ 18 h 174"/>
                <a:gd name="T52" fmla="*/ 28 w 96"/>
                <a:gd name="T53" fmla="*/ 18 h 174"/>
                <a:gd name="T54" fmla="*/ 24 w 96"/>
                <a:gd name="T55" fmla="*/ 18 h 174"/>
                <a:gd name="T56" fmla="*/ 18 w 96"/>
                <a:gd name="T57" fmla="*/ 24 h 174"/>
                <a:gd name="T58" fmla="*/ 18 w 96"/>
                <a:gd name="T59" fmla="*/ 68 h 174"/>
                <a:gd name="T60" fmla="*/ 18 w 96"/>
                <a:gd name="T61" fmla="*/ 72 h 174"/>
                <a:gd name="T62" fmla="*/ 24 w 96"/>
                <a:gd name="T63" fmla="*/ 78 h 174"/>
                <a:gd name="T64" fmla="*/ 68 w 96"/>
                <a:gd name="T65" fmla="*/ 78 h 174"/>
                <a:gd name="T66" fmla="*/ 78 w 96"/>
                <a:gd name="T67" fmla="*/ 80 h 174"/>
                <a:gd name="T68" fmla="*/ 94 w 96"/>
                <a:gd name="T69" fmla="*/ 96 h 174"/>
                <a:gd name="T70" fmla="*/ 96 w 96"/>
                <a:gd name="T71" fmla="*/ 146 h 174"/>
                <a:gd name="T72" fmla="*/ 94 w 96"/>
                <a:gd name="T73" fmla="*/ 156 h 174"/>
                <a:gd name="T74" fmla="*/ 78 w 96"/>
                <a:gd name="T75" fmla="*/ 172 h 174"/>
                <a:gd name="T76" fmla="*/ 68 w 96"/>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4">
                  <a:moveTo>
                    <a:pt x="68" y="174"/>
                  </a:moveTo>
                  <a:lnTo>
                    <a:pt x="28" y="174"/>
                  </a:lnTo>
                  <a:lnTo>
                    <a:pt x="28" y="174"/>
                  </a:lnTo>
                  <a:lnTo>
                    <a:pt x="16" y="172"/>
                  </a:lnTo>
                  <a:lnTo>
                    <a:pt x="8" y="166"/>
                  </a:lnTo>
                  <a:lnTo>
                    <a:pt x="2" y="156"/>
                  </a:lnTo>
                  <a:lnTo>
                    <a:pt x="0" y="146"/>
                  </a:lnTo>
                  <a:lnTo>
                    <a:pt x="0" y="126"/>
                  </a:lnTo>
                  <a:lnTo>
                    <a:pt x="18" y="126"/>
                  </a:lnTo>
                  <a:lnTo>
                    <a:pt x="18" y="146"/>
                  </a:lnTo>
                  <a:lnTo>
                    <a:pt x="18" y="146"/>
                  </a:lnTo>
                  <a:lnTo>
                    <a:pt x="18" y="150"/>
                  </a:lnTo>
                  <a:lnTo>
                    <a:pt x="20" y="154"/>
                  </a:lnTo>
                  <a:lnTo>
                    <a:pt x="24" y="156"/>
                  </a:lnTo>
                  <a:lnTo>
                    <a:pt x="28" y="156"/>
                  </a:lnTo>
                  <a:lnTo>
                    <a:pt x="68" y="156"/>
                  </a:lnTo>
                  <a:lnTo>
                    <a:pt x="68" y="156"/>
                  </a:lnTo>
                  <a:lnTo>
                    <a:pt x="72" y="156"/>
                  </a:lnTo>
                  <a:lnTo>
                    <a:pt x="74" y="154"/>
                  </a:lnTo>
                  <a:lnTo>
                    <a:pt x="78" y="150"/>
                  </a:lnTo>
                  <a:lnTo>
                    <a:pt x="78" y="146"/>
                  </a:lnTo>
                  <a:lnTo>
                    <a:pt x="78" y="106"/>
                  </a:lnTo>
                  <a:lnTo>
                    <a:pt x="78" y="106"/>
                  </a:lnTo>
                  <a:lnTo>
                    <a:pt x="78" y="102"/>
                  </a:lnTo>
                  <a:lnTo>
                    <a:pt x="74" y="98"/>
                  </a:lnTo>
                  <a:lnTo>
                    <a:pt x="72" y="96"/>
                  </a:lnTo>
                  <a:lnTo>
                    <a:pt x="68" y="96"/>
                  </a:lnTo>
                  <a:lnTo>
                    <a:pt x="28" y="96"/>
                  </a:lnTo>
                  <a:lnTo>
                    <a:pt x="28" y="96"/>
                  </a:lnTo>
                  <a:lnTo>
                    <a:pt x="16" y="94"/>
                  </a:lnTo>
                  <a:lnTo>
                    <a:pt x="8" y="88"/>
                  </a:lnTo>
                  <a:lnTo>
                    <a:pt x="2" y="78"/>
                  </a:lnTo>
                  <a:lnTo>
                    <a:pt x="0" y="68"/>
                  </a:lnTo>
                  <a:lnTo>
                    <a:pt x="0" y="28"/>
                  </a:lnTo>
                  <a:lnTo>
                    <a:pt x="0" y="28"/>
                  </a:lnTo>
                  <a:lnTo>
                    <a:pt x="2" y="16"/>
                  </a:lnTo>
                  <a:lnTo>
                    <a:pt x="8" y="8"/>
                  </a:lnTo>
                  <a:lnTo>
                    <a:pt x="16" y="2"/>
                  </a:lnTo>
                  <a:lnTo>
                    <a:pt x="28" y="0"/>
                  </a:lnTo>
                  <a:lnTo>
                    <a:pt x="68" y="0"/>
                  </a:lnTo>
                  <a:lnTo>
                    <a:pt x="68" y="0"/>
                  </a:lnTo>
                  <a:lnTo>
                    <a:pt x="78" y="2"/>
                  </a:lnTo>
                  <a:lnTo>
                    <a:pt x="88" y="8"/>
                  </a:lnTo>
                  <a:lnTo>
                    <a:pt x="94" y="16"/>
                  </a:lnTo>
                  <a:lnTo>
                    <a:pt x="96" y="28"/>
                  </a:lnTo>
                  <a:lnTo>
                    <a:pt x="96" y="48"/>
                  </a:lnTo>
                  <a:lnTo>
                    <a:pt x="78" y="48"/>
                  </a:lnTo>
                  <a:lnTo>
                    <a:pt x="78" y="28"/>
                  </a:lnTo>
                  <a:lnTo>
                    <a:pt x="78" y="28"/>
                  </a:lnTo>
                  <a:lnTo>
                    <a:pt x="78" y="24"/>
                  </a:lnTo>
                  <a:lnTo>
                    <a:pt x="74" y="20"/>
                  </a:lnTo>
                  <a:lnTo>
                    <a:pt x="72" y="18"/>
                  </a:lnTo>
                  <a:lnTo>
                    <a:pt x="68" y="18"/>
                  </a:lnTo>
                  <a:lnTo>
                    <a:pt x="28" y="18"/>
                  </a:lnTo>
                  <a:lnTo>
                    <a:pt x="28" y="18"/>
                  </a:lnTo>
                  <a:lnTo>
                    <a:pt x="24" y="18"/>
                  </a:lnTo>
                  <a:lnTo>
                    <a:pt x="20" y="20"/>
                  </a:lnTo>
                  <a:lnTo>
                    <a:pt x="18" y="24"/>
                  </a:lnTo>
                  <a:lnTo>
                    <a:pt x="18" y="28"/>
                  </a:lnTo>
                  <a:lnTo>
                    <a:pt x="18" y="68"/>
                  </a:lnTo>
                  <a:lnTo>
                    <a:pt x="18" y="68"/>
                  </a:lnTo>
                  <a:lnTo>
                    <a:pt x="18" y="72"/>
                  </a:lnTo>
                  <a:lnTo>
                    <a:pt x="20" y="74"/>
                  </a:lnTo>
                  <a:lnTo>
                    <a:pt x="24" y="78"/>
                  </a:lnTo>
                  <a:lnTo>
                    <a:pt x="28" y="78"/>
                  </a:lnTo>
                  <a:lnTo>
                    <a:pt x="68" y="78"/>
                  </a:lnTo>
                  <a:lnTo>
                    <a:pt x="68" y="78"/>
                  </a:lnTo>
                  <a:lnTo>
                    <a:pt x="78" y="80"/>
                  </a:lnTo>
                  <a:lnTo>
                    <a:pt x="88" y="86"/>
                  </a:lnTo>
                  <a:lnTo>
                    <a:pt x="94" y="96"/>
                  </a:lnTo>
                  <a:lnTo>
                    <a:pt x="96" y="106"/>
                  </a:lnTo>
                  <a:lnTo>
                    <a:pt x="96" y="146"/>
                  </a:lnTo>
                  <a:lnTo>
                    <a:pt x="96" y="146"/>
                  </a:lnTo>
                  <a:lnTo>
                    <a:pt x="94" y="156"/>
                  </a:lnTo>
                  <a:lnTo>
                    <a:pt x="88" y="166"/>
                  </a:lnTo>
                  <a:lnTo>
                    <a:pt x="78" y="172"/>
                  </a:lnTo>
                  <a:lnTo>
                    <a:pt x="68" y="174"/>
                  </a:lnTo>
                  <a:lnTo>
                    <a:pt x="68"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Rectangle 68">
              <a:extLst>
                <a:ext uri="{FF2B5EF4-FFF2-40B4-BE49-F238E27FC236}">
                  <a16:creationId xmlns:a16="http://schemas.microsoft.com/office/drawing/2014/main" id="{2F687717-C9D7-431C-A646-DB7D00FA1A41}"/>
                </a:ext>
              </a:extLst>
            </p:cNvPr>
            <p:cNvSpPr>
              <a:spLocks noChangeArrowheads="1"/>
            </p:cNvSpPr>
            <p:nvPr/>
          </p:nvSpPr>
          <p:spPr bwMode="auto">
            <a:xfrm>
              <a:off x="5662613" y="1655763"/>
              <a:ext cx="28575" cy="34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Rectangle 69">
              <a:extLst>
                <a:ext uri="{FF2B5EF4-FFF2-40B4-BE49-F238E27FC236}">
                  <a16:creationId xmlns:a16="http://schemas.microsoft.com/office/drawing/2014/main" id="{18461FBE-0D3F-415C-BB0F-D313CC17491B}"/>
                </a:ext>
              </a:extLst>
            </p:cNvPr>
            <p:cNvSpPr>
              <a:spLocks noChangeArrowheads="1"/>
            </p:cNvSpPr>
            <p:nvPr/>
          </p:nvSpPr>
          <p:spPr bwMode="auto">
            <a:xfrm>
              <a:off x="5662613" y="1941513"/>
              <a:ext cx="28575" cy="34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74" name="Rectangle 4">
            <a:extLst>
              <a:ext uri="{FF2B5EF4-FFF2-40B4-BE49-F238E27FC236}">
                <a16:creationId xmlns:a16="http://schemas.microsoft.com/office/drawing/2014/main" id="{AD93E89A-8E5A-4FAD-913A-1DE969DBE3A1}"/>
              </a:ext>
            </a:extLst>
          </p:cNvPr>
          <p:cNvSpPr>
            <a:spLocks noChangeArrowheads="1"/>
          </p:cNvSpPr>
          <p:nvPr/>
        </p:nvSpPr>
        <p:spPr bwMode="auto">
          <a:xfrm>
            <a:off x="1734637" y="790200"/>
            <a:ext cx="9824933" cy="2664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Data Strategy Objectives</a:t>
            </a:r>
          </a:p>
        </p:txBody>
      </p:sp>
      <p:grpSp>
        <p:nvGrpSpPr>
          <p:cNvPr id="133" name="Gruppieren 169">
            <a:extLst>
              <a:ext uri="{FF2B5EF4-FFF2-40B4-BE49-F238E27FC236}">
                <a16:creationId xmlns:a16="http://schemas.microsoft.com/office/drawing/2014/main" id="{B054E95C-841B-4193-BBCC-CCEFDB7F32BD}"/>
              </a:ext>
            </a:extLst>
          </p:cNvPr>
          <p:cNvGrpSpPr/>
          <p:nvPr/>
        </p:nvGrpSpPr>
        <p:grpSpPr>
          <a:xfrm rot="16200000">
            <a:off x="6341958" y="-115402"/>
            <a:ext cx="546181" cy="8962887"/>
            <a:chOff x="8023614" y="1959184"/>
            <a:chExt cx="559921" cy="4034945"/>
          </a:xfrm>
          <a:solidFill>
            <a:srgbClr val="CBD4E5"/>
          </a:solidFill>
        </p:grpSpPr>
        <p:sp>
          <p:nvSpPr>
            <p:cNvPr id="134" name="Freihandform 170">
              <a:extLst>
                <a:ext uri="{FF2B5EF4-FFF2-40B4-BE49-F238E27FC236}">
                  <a16:creationId xmlns:a16="http://schemas.microsoft.com/office/drawing/2014/main" id="{5CC458A6-65EF-4CFA-9997-499025A2F809}"/>
                </a:ext>
              </a:extLst>
            </p:cNvPr>
            <p:cNvSpPr/>
            <p:nvPr/>
          </p:nvSpPr>
          <p:spPr>
            <a:xfrm rot="16200000">
              <a:off x="7406482" y="2749831"/>
              <a:ext cx="1964166" cy="382871"/>
            </a:xfrm>
            <a:custGeom>
              <a:avLst/>
              <a:gdLst>
                <a:gd name="connsiteX0" fmla="*/ 1502068 w 1502068"/>
                <a:gd name="connsiteY0" fmla="*/ 255248 h 382871"/>
                <a:gd name="connsiteX1" fmla="*/ 1361769 w 1502068"/>
                <a:gd name="connsiteY1" fmla="*/ 382871 h 382871"/>
                <a:gd name="connsiteX2" fmla="*/ 1221471 w 1502068"/>
                <a:gd name="connsiteY2" fmla="*/ 255248 h 382871"/>
                <a:gd name="connsiteX3" fmla="*/ 1291620 w 1502068"/>
                <a:gd name="connsiteY3" fmla="*/ 255248 h 382871"/>
                <a:gd name="connsiteX4" fmla="*/ 1291620 w 1502068"/>
                <a:gd name="connsiteY4" fmla="*/ 223341 h 382871"/>
                <a:gd name="connsiteX5" fmla="*/ 1186395 w 1502068"/>
                <a:gd name="connsiteY5" fmla="*/ 127623 h 382871"/>
                <a:gd name="connsiteX6" fmla="*/ 0 w 1502068"/>
                <a:gd name="connsiteY6" fmla="*/ 127624 h 382871"/>
                <a:gd name="connsiteX7" fmla="*/ 0 w 1502068"/>
                <a:gd name="connsiteY7" fmla="*/ 0 h 382871"/>
                <a:gd name="connsiteX8" fmla="*/ 1186395 w 1502068"/>
                <a:gd name="connsiteY8" fmla="*/ 0 h 382871"/>
                <a:gd name="connsiteX9" fmla="*/ 1431918 w 1502068"/>
                <a:gd name="connsiteY9" fmla="*/ 223341 h 382871"/>
                <a:gd name="connsiteX10" fmla="*/ 1431919 w 1502068"/>
                <a:gd name="connsiteY10" fmla="*/ 255248 h 382871"/>
                <a:gd name="connsiteX0" fmla="*/ 1814978 w 1814978"/>
                <a:gd name="connsiteY0" fmla="*/ 255248 h 382871"/>
                <a:gd name="connsiteX1" fmla="*/ 1674679 w 1814978"/>
                <a:gd name="connsiteY1" fmla="*/ 382871 h 382871"/>
                <a:gd name="connsiteX2" fmla="*/ 1534381 w 1814978"/>
                <a:gd name="connsiteY2" fmla="*/ 255248 h 382871"/>
                <a:gd name="connsiteX3" fmla="*/ 1604530 w 1814978"/>
                <a:gd name="connsiteY3" fmla="*/ 255248 h 382871"/>
                <a:gd name="connsiteX4" fmla="*/ 1604530 w 1814978"/>
                <a:gd name="connsiteY4" fmla="*/ 223341 h 382871"/>
                <a:gd name="connsiteX5" fmla="*/ 1499305 w 1814978"/>
                <a:gd name="connsiteY5" fmla="*/ 127623 h 382871"/>
                <a:gd name="connsiteX6" fmla="*/ 0 w 1814978"/>
                <a:gd name="connsiteY6" fmla="*/ 127627 h 382871"/>
                <a:gd name="connsiteX7" fmla="*/ 312910 w 1814978"/>
                <a:gd name="connsiteY7" fmla="*/ 0 h 382871"/>
                <a:gd name="connsiteX8" fmla="*/ 1499305 w 1814978"/>
                <a:gd name="connsiteY8" fmla="*/ 0 h 382871"/>
                <a:gd name="connsiteX9" fmla="*/ 1744828 w 1814978"/>
                <a:gd name="connsiteY9" fmla="*/ 223341 h 382871"/>
                <a:gd name="connsiteX10" fmla="*/ 1744829 w 1814978"/>
                <a:gd name="connsiteY10" fmla="*/ 255248 h 382871"/>
                <a:gd name="connsiteX11" fmla="*/ 1814978 w 1814978"/>
                <a:gd name="connsiteY11" fmla="*/ 255248 h 382871"/>
                <a:gd name="connsiteX0" fmla="*/ 1848267 w 1848267"/>
                <a:gd name="connsiteY0" fmla="*/ 255248 h 382871"/>
                <a:gd name="connsiteX1" fmla="*/ 1707968 w 1848267"/>
                <a:gd name="connsiteY1" fmla="*/ 382871 h 382871"/>
                <a:gd name="connsiteX2" fmla="*/ 1567670 w 1848267"/>
                <a:gd name="connsiteY2" fmla="*/ 255248 h 382871"/>
                <a:gd name="connsiteX3" fmla="*/ 1637819 w 1848267"/>
                <a:gd name="connsiteY3" fmla="*/ 255248 h 382871"/>
                <a:gd name="connsiteX4" fmla="*/ 1637819 w 1848267"/>
                <a:gd name="connsiteY4" fmla="*/ 223341 h 382871"/>
                <a:gd name="connsiteX5" fmla="*/ 1532594 w 1848267"/>
                <a:gd name="connsiteY5" fmla="*/ 127623 h 382871"/>
                <a:gd name="connsiteX6" fmla="*/ 33289 w 1848267"/>
                <a:gd name="connsiteY6" fmla="*/ 127627 h 382871"/>
                <a:gd name="connsiteX7" fmla="*/ 0 w 1848267"/>
                <a:gd name="connsiteY7" fmla="*/ 7146 h 382871"/>
                <a:gd name="connsiteX8" fmla="*/ 1532594 w 1848267"/>
                <a:gd name="connsiteY8" fmla="*/ 0 h 382871"/>
                <a:gd name="connsiteX9" fmla="*/ 1778117 w 1848267"/>
                <a:gd name="connsiteY9" fmla="*/ 223341 h 382871"/>
                <a:gd name="connsiteX10" fmla="*/ 1778118 w 1848267"/>
                <a:gd name="connsiteY10" fmla="*/ 255248 h 382871"/>
                <a:gd name="connsiteX11" fmla="*/ 1848267 w 1848267"/>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8851 w 1843829"/>
                <a:gd name="connsiteY6" fmla="*/ 127627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4411 w 1843829"/>
                <a:gd name="connsiteY6" fmla="*/ 130011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2191 w 1843829"/>
                <a:gd name="connsiteY6" fmla="*/ 132395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30515 w 1830515"/>
                <a:gd name="connsiteY0" fmla="*/ 255248 h 382871"/>
                <a:gd name="connsiteX1" fmla="*/ 1690216 w 1830515"/>
                <a:gd name="connsiteY1" fmla="*/ 382871 h 382871"/>
                <a:gd name="connsiteX2" fmla="*/ 1549918 w 1830515"/>
                <a:gd name="connsiteY2" fmla="*/ 255248 h 382871"/>
                <a:gd name="connsiteX3" fmla="*/ 1620067 w 1830515"/>
                <a:gd name="connsiteY3" fmla="*/ 255248 h 382871"/>
                <a:gd name="connsiteX4" fmla="*/ 1620067 w 1830515"/>
                <a:gd name="connsiteY4" fmla="*/ 223341 h 382871"/>
                <a:gd name="connsiteX5" fmla="*/ 1514842 w 1830515"/>
                <a:gd name="connsiteY5" fmla="*/ 127623 h 382871"/>
                <a:gd name="connsiteX6" fmla="*/ 8877 w 1830515"/>
                <a:gd name="connsiteY6" fmla="*/ 132395 h 382871"/>
                <a:gd name="connsiteX7" fmla="*/ 0 w 1830515"/>
                <a:gd name="connsiteY7" fmla="*/ 2389 h 382871"/>
                <a:gd name="connsiteX8" fmla="*/ 1514842 w 1830515"/>
                <a:gd name="connsiteY8" fmla="*/ 0 h 382871"/>
                <a:gd name="connsiteX9" fmla="*/ 1760365 w 1830515"/>
                <a:gd name="connsiteY9" fmla="*/ 223341 h 382871"/>
                <a:gd name="connsiteX10" fmla="*/ 1760366 w 1830515"/>
                <a:gd name="connsiteY10" fmla="*/ 255248 h 382871"/>
                <a:gd name="connsiteX11" fmla="*/ 1830515 w 1830515"/>
                <a:gd name="connsiteY11" fmla="*/ 255248 h 38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0515" h="382871">
                  <a:moveTo>
                    <a:pt x="1830515" y="255248"/>
                  </a:moveTo>
                  <a:lnTo>
                    <a:pt x="1690216" y="382871"/>
                  </a:lnTo>
                  <a:lnTo>
                    <a:pt x="1549918" y="255248"/>
                  </a:lnTo>
                  <a:lnTo>
                    <a:pt x="1620067" y="255248"/>
                  </a:lnTo>
                  <a:lnTo>
                    <a:pt x="1620067" y="223341"/>
                  </a:lnTo>
                  <a:cubicBezTo>
                    <a:pt x="1620067" y="170478"/>
                    <a:pt x="1572956" y="127623"/>
                    <a:pt x="1514842" y="127623"/>
                  </a:cubicBezTo>
                  <a:lnTo>
                    <a:pt x="8877" y="132395"/>
                  </a:lnTo>
                  <a:lnTo>
                    <a:pt x="0" y="2389"/>
                  </a:lnTo>
                  <a:lnTo>
                    <a:pt x="1514842" y="0"/>
                  </a:lnTo>
                  <a:cubicBezTo>
                    <a:pt x="1650441" y="0"/>
                    <a:pt x="1760365" y="99993"/>
                    <a:pt x="1760365" y="223341"/>
                  </a:cubicBezTo>
                  <a:cubicBezTo>
                    <a:pt x="1760365" y="233977"/>
                    <a:pt x="1760366" y="244612"/>
                    <a:pt x="1760366" y="255248"/>
                  </a:cubicBezTo>
                  <a:lnTo>
                    <a:pt x="1830515" y="2552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5" name="Freihandform 171">
              <a:extLst>
                <a:ext uri="{FF2B5EF4-FFF2-40B4-BE49-F238E27FC236}">
                  <a16:creationId xmlns:a16="http://schemas.microsoft.com/office/drawing/2014/main" id="{3B2E5944-A1CB-4794-BAE2-C3D58BF895D6}"/>
                </a:ext>
              </a:extLst>
            </p:cNvPr>
            <p:cNvSpPr/>
            <p:nvPr/>
          </p:nvSpPr>
          <p:spPr>
            <a:xfrm>
              <a:off x="8127971" y="3859811"/>
              <a:ext cx="284400" cy="272414"/>
            </a:xfrm>
            <a:custGeom>
              <a:avLst/>
              <a:gdLst>
                <a:gd name="connsiteX0" fmla="*/ 78662 w 303350"/>
                <a:gd name="connsiteY0" fmla="*/ 0 h 294056"/>
                <a:gd name="connsiteX1" fmla="*/ 213559 w 303350"/>
                <a:gd name="connsiteY1" fmla="*/ 0 h 294056"/>
                <a:gd name="connsiteX2" fmla="*/ 215795 w 303350"/>
                <a:gd name="connsiteY2" fmla="*/ 12238 h 294056"/>
                <a:gd name="connsiteX3" fmla="*/ 300928 w 303350"/>
                <a:gd name="connsiteY3" fmla="*/ 74598 h 294056"/>
                <a:gd name="connsiteX4" fmla="*/ 303350 w 303350"/>
                <a:gd name="connsiteY4" fmla="*/ 74598 h 294056"/>
                <a:gd name="connsiteX5" fmla="*/ 303350 w 303350"/>
                <a:gd name="connsiteY5" fmla="*/ 213524 h 294056"/>
                <a:gd name="connsiteX6" fmla="*/ 300927 w 303350"/>
                <a:gd name="connsiteY6" fmla="*/ 213524 h 294056"/>
                <a:gd name="connsiteX7" fmla="*/ 215794 w 303350"/>
                <a:gd name="connsiteY7" fmla="*/ 275884 h 294056"/>
                <a:gd name="connsiteX8" fmla="*/ 212474 w 303350"/>
                <a:gd name="connsiteY8" fmla="*/ 294056 h 294056"/>
                <a:gd name="connsiteX9" fmla="*/ 79745 w 303350"/>
                <a:gd name="connsiteY9" fmla="*/ 294056 h 294056"/>
                <a:gd name="connsiteX10" fmla="*/ 76425 w 303350"/>
                <a:gd name="connsiteY10" fmla="*/ 275883 h 294056"/>
                <a:gd name="connsiteX11" fmla="*/ 18767 w 303350"/>
                <a:gd name="connsiteY11" fmla="*/ 218114 h 294056"/>
                <a:gd name="connsiteX12" fmla="*/ 0 w 303350"/>
                <a:gd name="connsiteY12" fmla="*/ 214978 h 294056"/>
                <a:gd name="connsiteX13" fmla="*/ 0 w 303350"/>
                <a:gd name="connsiteY13" fmla="*/ 73142 h 294056"/>
                <a:gd name="connsiteX14" fmla="*/ 18768 w 303350"/>
                <a:gd name="connsiteY14" fmla="*/ 70007 h 294056"/>
                <a:gd name="connsiteX15" fmla="*/ 76426 w 303350"/>
                <a:gd name="connsiteY15" fmla="*/ 12237 h 294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3350" h="294056">
                  <a:moveTo>
                    <a:pt x="78662" y="0"/>
                  </a:moveTo>
                  <a:lnTo>
                    <a:pt x="213559" y="0"/>
                  </a:lnTo>
                  <a:lnTo>
                    <a:pt x="215795" y="12238"/>
                  </a:lnTo>
                  <a:cubicBezTo>
                    <a:pt x="229821" y="48885"/>
                    <a:pt x="262657" y="74598"/>
                    <a:pt x="300928" y="74598"/>
                  </a:cubicBezTo>
                  <a:lnTo>
                    <a:pt x="303350" y="74598"/>
                  </a:lnTo>
                  <a:lnTo>
                    <a:pt x="303350" y="213524"/>
                  </a:lnTo>
                  <a:lnTo>
                    <a:pt x="300927" y="213524"/>
                  </a:lnTo>
                  <a:cubicBezTo>
                    <a:pt x="262656" y="213524"/>
                    <a:pt x="229820" y="239238"/>
                    <a:pt x="215794" y="275884"/>
                  </a:cubicBezTo>
                  <a:lnTo>
                    <a:pt x="212474" y="294056"/>
                  </a:lnTo>
                  <a:lnTo>
                    <a:pt x="79745" y="294056"/>
                  </a:lnTo>
                  <a:lnTo>
                    <a:pt x="76425" y="275883"/>
                  </a:lnTo>
                  <a:cubicBezTo>
                    <a:pt x="65906" y="248399"/>
                    <a:pt x="44805" y="227064"/>
                    <a:pt x="18767" y="218114"/>
                  </a:cubicBezTo>
                  <a:lnTo>
                    <a:pt x="0" y="214978"/>
                  </a:lnTo>
                  <a:lnTo>
                    <a:pt x="0" y="73142"/>
                  </a:lnTo>
                  <a:lnTo>
                    <a:pt x="18768" y="70007"/>
                  </a:lnTo>
                  <a:cubicBezTo>
                    <a:pt x="44806" y="61057"/>
                    <a:pt x="65907" y="39722"/>
                    <a:pt x="76426" y="1223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6" name="Freihandform 172">
              <a:extLst>
                <a:ext uri="{FF2B5EF4-FFF2-40B4-BE49-F238E27FC236}">
                  <a16:creationId xmlns:a16="http://schemas.microsoft.com/office/drawing/2014/main" id="{9D5783E7-1FBD-404D-92A6-AE737E43F8A3}"/>
                </a:ext>
              </a:extLst>
            </p:cNvPr>
            <p:cNvSpPr/>
            <p:nvPr/>
          </p:nvSpPr>
          <p:spPr>
            <a:xfrm rot="5400000" flipV="1">
              <a:off x="7398503" y="4812632"/>
              <a:ext cx="1980123" cy="382871"/>
            </a:xfrm>
            <a:custGeom>
              <a:avLst/>
              <a:gdLst>
                <a:gd name="connsiteX0" fmla="*/ 1502068 w 1502068"/>
                <a:gd name="connsiteY0" fmla="*/ 255248 h 382871"/>
                <a:gd name="connsiteX1" fmla="*/ 1361769 w 1502068"/>
                <a:gd name="connsiteY1" fmla="*/ 382871 h 382871"/>
                <a:gd name="connsiteX2" fmla="*/ 1221471 w 1502068"/>
                <a:gd name="connsiteY2" fmla="*/ 255248 h 382871"/>
                <a:gd name="connsiteX3" fmla="*/ 1291620 w 1502068"/>
                <a:gd name="connsiteY3" fmla="*/ 255248 h 382871"/>
                <a:gd name="connsiteX4" fmla="*/ 1291620 w 1502068"/>
                <a:gd name="connsiteY4" fmla="*/ 223341 h 382871"/>
                <a:gd name="connsiteX5" fmla="*/ 1186395 w 1502068"/>
                <a:gd name="connsiteY5" fmla="*/ 127623 h 382871"/>
                <a:gd name="connsiteX6" fmla="*/ 0 w 1502068"/>
                <a:gd name="connsiteY6" fmla="*/ 127624 h 382871"/>
                <a:gd name="connsiteX7" fmla="*/ 0 w 1502068"/>
                <a:gd name="connsiteY7" fmla="*/ 0 h 382871"/>
                <a:gd name="connsiteX8" fmla="*/ 1186395 w 1502068"/>
                <a:gd name="connsiteY8" fmla="*/ 0 h 382871"/>
                <a:gd name="connsiteX9" fmla="*/ 1431918 w 1502068"/>
                <a:gd name="connsiteY9" fmla="*/ 223341 h 382871"/>
                <a:gd name="connsiteX10" fmla="*/ 1431919 w 1502068"/>
                <a:gd name="connsiteY10"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391619 w 1893687"/>
                <a:gd name="connsiteY6" fmla="*/ 127624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9055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9055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6791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6791 w 1882369"/>
                <a:gd name="connsiteY7" fmla="*/ 4763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13582 w 1882369"/>
                <a:gd name="connsiteY7" fmla="*/ 2382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7628 h 385251"/>
                <a:gd name="connsiteX1" fmla="*/ 1742070 w 1882369"/>
                <a:gd name="connsiteY1" fmla="*/ 385251 h 385251"/>
                <a:gd name="connsiteX2" fmla="*/ 1601772 w 1882369"/>
                <a:gd name="connsiteY2" fmla="*/ 257628 h 385251"/>
                <a:gd name="connsiteX3" fmla="*/ 1671921 w 1882369"/>
                <a:gd name="connsiteY3" fmla="*/ 257628 h 385251"/>
                <a:gd name="connsiteX4" fmla="*/ 1671921 w 1882369"/>
                <a:gd name="connsiteY4" fmla="*/ 225721 h 385251"/>
                <a:gd name="connsiteX5" fmla="*/ 1566696 w 1882369"/>
                <a:gd name="connsiteY5" fmla="*/ 130003 h 385251"/>
                <a:gd name="connsiteX6" fmla="*/ 0 w 1882369"/>
                <a:gd name="connsiteY6" fmla="*/ 132386 h 385251"/>
                <a:gd name="connsiteX7" fmla="*/ 15846 w 1882369"/>
                <a:gd name="connsiteY7" fmla="*/ 0 h 385251"/>
                <a:gd name="connsiteX8" fmla="*/ 1566696 w 1882369"/>
                <a:gd name="connsiteY8" fmla="*/ 2380 h 385251"/>
                <a:gd name="connsiteX9" fmla="*/ 1812219 w 1882369"/>
                <a:gd name="connsiteY9" fmla="*/ 225721 h 385251"/>
                <a:gd name="connsiteX10" fmla="*/ 1812220 w 1882369"/>
                <a:gd name="connsiteY10" fmla="*/ 257628 h 385251"/>
                <a:gd name="connsiteX11" fmla="*/ 1882369 w 1882369"/>
                <a:gd name="connsiteY11" fmla="*/ 257628 h 38525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15846 w 1882369"/>
                <a:gd name="connsiteY7" fmla="*/ 2382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2369" h="382871">
                  <a:moveTo>
                    <a:pt x="1882369" y="255248"/>
                  </a:moveTo>
                  <a:lnTo>
                    <a:pt x="1742070" y="382871"/>
                  </a:lnTo>
                  <a:lnTo>
                    <a:pt x="1601772" y="255248"/>
                  </a:lnTo>
                  <a:lnTo>
                    <a:pt x="1671921" y="255248"/>
                  </a:lnTo>
                  <a:lnTo>
                    <a:pt x="1671921" y="223341"/>
                  </a:lnTo>
                  <a:cubicBezTo>
                    <a:pt x="1671921" y="170478"/>
                    <a:pt x="1624810" y="127623"/>
                    <a:pt x="1566696" y="127623"/>
                  </a:cubicBezTo>
                  <a:lnTo>
                    <a:pt x="0" y="130006"/>
                  </a:lnTo>
                  <a:lnTo>
                    <a:pt x="15846" y="2382"/>
                  </a:lnTo>
                  <a:lnTo>
                    <a:pt x="1566696" y="0"/>
                  </a:lnTo>
                  <a:cubicBezTo>
                    <a:pt x="1702295" y="0"/>
                    <a:pt x="1812219" y="99993"/>
                    <a:pt x="1812219" y="223341"/>
                  </a:cubicBezTo>
                  <a:cubicBezTo>
                    <a:pt x="1812219" y="233977"/>
                    <a:pt x="1812220" y="244612"/>
                    <a:pt x="1812220" y="255248"/>
                  </a:cubicBezTo>
                  <a:lnTo>
                    <a:pt x="1882369" y="2552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7" name="Freihandform 173">
              <a:extLst>
                <a:ext uri="{FF2B5EF4-FFF2-40B4-BE49-F238E27FC236}">
                  <a16:creationId xmlns:a16="http://schemas.microsoft.com/office/drawing/2014/main" id="{1C9C38B0-5B72-461D-AF5C-F9C77535CBB0}"/>
                </a:ext>
              </a:extLst>
            </p:cNvPr>
            <p:cNvSpPr/>
            <p:nvPr/>
          </p:nvSpPr>
          <p:spPr>
            <a:xfrm rot="10800000">
              <a:off x="8023614" y="3925889"/>
              <a:ext cx="144405"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8" name="Freihandform 174">
              <a:extLst>
                <a:ext uri="{FF2B5EF4-FFF2-40B4-BE49-F238E27FC236}">
                  <a16:creationId xmlns:a16="http://schemas.microsoft.com/office/drawing/2014/main" id="{1ED13881-4282-487A-833C-4F1AD2D3D8FB}"/>
                </a:ext>
              </a:extLst>
            </p:cNvPr>
            <p:cNvSpPr/>
            <p:nvPr/>
          </p:nvSpPr>
          <p:spPr>
            <a:xfrm rot="10800000">
              <a:off x="8309029" y="3925889"/>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Gleichschenkliges Dreieck 175">
              <a:extLst>
                <a:ext uri="{FF2B5EF4-FFF2-40B4-BE49-F238E27FC236}">
                  <a16:creationId xmlns:a16="http://schemas.microsoft.com/office/drawing/2014/main" id="{E0E5D805-559B-48ED-AF0B-4BD45F05E52B}"/>
                </a:ext>
              </a:extLst>
            </p:cNvPr>
            <p:cNvSpPr/>
            <p:nvPr/>
          </p:nvSpPr>
          <p:spPr>
            <a:xfrm rot="5400000">
              <a:off x="8369803" y="3928989"/>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nvGrpSpPr>
            <p:cNvPr id="10" name="Gruppieren 176">
              <a:extLst>
                <a:ext uri="{FF2B5EF4-FFF2-40B4-BE49-F238E27FC236}">
                  <a16:creationId xmlns:a16="http://schemas.microsoft.com/office/drawing/2014/main" id="{1A544F3E-66C5-46E8-A9F0-F146F7946C4B}"/>
                </a:ext>
              </a:extLst>
            </p:cNvPr>
            <p:cNvGrpSpPr/>
            <p:nvPr/>
          </p:nvGrpSpPr>
          <p:grpSpPr>
            <a:xfrm>
              <a:off x="8266532" y="2737610"/>
              <a:ext cx="311449" cy="300464"/>
              <a:chOff x="3328542" y="2699510"/>
              <a:chExt cx="311449" cy="300464"/>
            </a:xfrm>
            <a:grpFill/>
          </p:grpSpPr>
          <p:sp>
            <p:nvSpPr>
              <p:cNvPr id="167" name="Freihandform 181">
                <a:extLst>
                  <a:ext uri="{FF2B5EF4-FFF2-40B4-BE49-F238E27FC236}">
                    <a16:creationId xmlns:a16="http://schemas.microsoft.com/office/drawing/2014/main" id="{7056D26A-D886-473A-A43D-E47F25405EA9}"/>
                  </a:ext>
                </a:extLst>
              </p:cNvPr>
              <p:cNvSpPr/>
              <p:nvPr/>
            </p:nvSpPr>
            <p:spPr>
              <a:xfrm>
                <a:off x="3328542" y="2718129"/>
                <a:ext cx="142200" cy="272414"/>
              </a:xfrm>
              <a:custGeom>
                <a:avLst/>
                <a:gdLst>
                  <a:gd name="connsiteX0" fmla="*/ 0 w 142200"/>
                  <a:gd name="connsiteY0" fmla="*/ 0 h 272414"/>
                  <a:gd name="connsiteX1" fmla="*/ 58018 w 142200"/>
                  <a:gd name="connsiteY1" fmla="*/ 0 h 272414"/>
                  <a:gd name="connsiteX2" fmla="*/ 60115 w 142200"/>
                  <a:gd name="connsiteY2" fmla="*/ 11337 h 272414"/>
                  <a:gd name="connsiteX3" fmla="*/ 139930 w 142200"/>
                  <a:gd name="connsiteY3" fmla="*/ 69108 h 272414"/>
                  <a:gd name="connsiteX4" fmla="*/ 142200 w 142200"/>
                  <a:gd name="connsiteY4" fmla="*/ 69108 h 272414"/>
                  <a:gd name="connsiteX5" fmla="*/ 142200 w 142200"/>
                  <a:gd name="connsiteY5" fmla="*/ 197809 h 272414"/>
                  <a:gd name="connsiteX6" fmla="*/ 139929 w 142200"/>
                  <a:gd name="connsiteY6" fmla="*/ 197809 h 272414"/>
                  <a:gd name="connsiteX7" fmla="*/ 60114 w 142200"/>
                  <a:gd name="connsiteY7" fmla="*/ 255580 h 272414"/>
                  <a:gd name="connsiteX8" fmla="*/ 57001 w 142200"/>
                  <a:gd name="connsiteY8" fmla="*/ 272414 h 272414"/>
                  <a:gd name="connsiteX9" fmla="*/ 0 w 142200"/>
                  <a:gd name="connsiteY9" fmla="*/ 272414 h 2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00" h="272414">
                    <a:moveTo>
                      <a:pt x="0" y="0"/>
                    </a:moveTo>
                    <a:lnTo>
                      <a:pt x="58018" y="0"/>
                    </a:lnTo>
                    <a:lnTo>
                      <a:pt x="60115" y="11337"/>
                    </a:lnTo>
                    <a:cubicBezTo>
                      <a:pt x="73265" y="45287"/>
                      <a:pt x="104049" y="69108"/>
                      <a:pt x="139930" y="69108"/>
                    </a:cubicBezTo>
                    <a:lnTo>
                      <a:pt x="142200" y="69108"/>
                    </a:lnTo>
                    <a:lnTo>
                      <a:pt x="142200" y="197809"/>
                    </a:lnTo>
                    <a:lnTo>
                      <a:pt x="139929" y="197809"/>
                    </a:lnTo>
                    <a:cubicBezTo>
                      <a:pt x="104048" y="197809"/>
                      <a:pt x="73264" y="221631"/>
                      <a:pt x="60114" y="255580"/>
                    </a:cubicBezTo>
                    <a:lnTo>
                      <a:pt x="57001" y="272414"/>
                    </a:lnTo>
                    <a:lnTo>
                      <a:pt x="0" y="272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 name="Freihandform 182">
                <a:extLst>
                  <a:ext uri="{FF2B5EF4-FFF2-40B4-BE49-F238E27FC236}">
                    <a16:creationId xmlns:a16="http://schemas.microsoft.com/office/drawing/2014/main" id="{E88A7F05-04AC-4FB3-BC66-53F111BE97D9}"/>
                  </a:ext>
                </a:extLst>
              </p:cNvPr>
              <p:cNvSpPr/>
              <p:nvPr/>
            </p:nvSpPr>
            <p:spPr>
              <a:xfrm rot="10800000">
                <a:off x="3365487" y="2783129"/>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5" name="Gleichschenkliges Dreieck 183">
                <a:extLst>
                  <a:ext uri="{FF2B5EF4-FFF2-40B4-BE49-F238E27FC236}">
                    <a16:creationId xmlns:a16="http://schemas.microsoft.com/office/drawing/2014/main" id="{6FA4FD02-0F46-4050-AD6D-508DEBF9DE99}"/>
                  </a:ext>
                </a:extLst>
              </p:cNvPr>
              <p:cNvSpPr/>
              <p:nvPr/>
            </p:nvSpPr>
            <p:spPr>
              <a:xfrm rot="5400000">
                <a:off x="3426259" y="2786242"/>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grpSp>
          <p:nvGrpSpPr>
            <p:cNvPr id="11" name="Gruppieren 177">
              <a:extLst>
                <a:ext uri="{FF2B5EF4-FFF2-40B4-BE49-F238E27FC236}">
                  <a16:creationId xmlns:a16="http://schemas.microsoft.com/office/drawing/2014/main" id="{8BDDDC2F-3604-4F5E-9484-4E2EA4147164}"/>
                </a:ext>
              </a:extLst>
            </p:cNvPr>
            <p:cNvGrpSpPr/>
            <p:nvPr/>
          </p:nvGrpSpPr>
          <p:grpSpPr>
            <a:xfrm>
              <a:off x="8266529" y="4981398"/>
              <a:ext cx="311451" cy="300464"/>
              <a:chOff x="3328539" y="3073376"/>
              <a:chExt cx="311451" cy="300464"/>
            </a:xfrm>
            <a:grpFill/>
          </p:grpSpPr>
          <p:sp>
            <p:nvSpPr>
              <p:cNvPr id="12" name="Freihandform 178">
                <a:extLst>
                  <a:ext uri="{FF2B5EF4-FFF2-40B4-BE49-F238E27FC236}">
                    <a16:creationId xmlns:a16="http://schemas.microsoft.com/office/drawing/2014/main" id="{05A02375-542C-4BE5-8C50-B26410D91FAA}"/>
                  </a:ext>
                </a:extLst>
              </p:cNvPr>
              <p:cNvSpPr/>
              <p:nvPr/>
            </p:nvSpPr>
            <p:spPr>
              <a:xfrm>
                <a:off x="3328539" y="3092000"/>
                <a:ext cx="142200" cy="272414"/>
              </a:xfrm>
              <a:custGeom>
                <a:avLst/>
                <a:gdLst>
                  <a:gd name="connsiteX0" fmla="*/ 0 w 142200"/>
                  <a:gd name="connsiteY0" fmla="*/ 0 h 272414"/>
                  <a:gd name="connsiteX1" fmla="*/ 58018 w 142200"/>
                  <a:gd name="connsiteY1" fmla="*/ 0 h 272414"/>
                  <a:gd name="connsiteX2" fmla="*/ 60115 w 142200"/>
                  <a:gd name="connsiteY2" fmla="*/ 11337 h 272414"/>
                  <a:gd name="connsiteX3" fmla="*/ 139930 w 142200"/>
                  <a:gd name="connsiteY3" fmla="*/ 69108 h 272414"/>
                  <a:gd name="connsiteX4" fmla="*/ 142200 w 142200"/>
                  <a:gd name="connsiteY4" fmla="*/ 69108 h 272414"/>
                  <a:gd name="connsiteX5" fmla="*/ 142200 w 142200"/>
                  <a:gd name="connsiteY5" fmla="*/ 197809 h 272414"/>
                  <a:gd name="connsiteX6" fmla="*/ 139929 w 142200"/>
                  <a:gd name="connsiteY6" fmla="*/ 197809 h 272414"/>
                  <a:gd name="connsiteX7" fmla="*/ 60114 w 142200"/>
                  <a:gd name="connsiteY7" fmla="*/ 255580 h 272414"/>
                  <a:gd name="connsiteX8" fmla="*/ 57001 w 142200"/>
                  <a:gd name="connsiteY8" fmla="*/ 272414 h 272414"/>
                  <a:gd name="connsiteX9" fmla="*/ 0 w 142200"/>
                  <a:gd name="connsiteY9" fmla="*/ 272414 h 2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00" h="272414">
                    <a:moveTo>
                      <a:pt x="0" y="0"/>
                    </a:moveTo>
                    <a:lnTo>
                      <a:pt x="58018" y="0"/>
                    </a:lnTo>
                    <a:lnTo>
                      <a:pt x="60115" y="11337"/>
                    </a:lnTo>
                    <a:cubicBezTo>
                      <a:pt x="73265" y="45287"/>
                      <a:pt x="104049" y="69108"/>
                      <a:pt x="139930" y="69108"/>
                    </a:cubicBezTo>
                    <a:lnTo>
                      <a:pt x="142200" y="69108"/>
                    </a:lnTo>
                    <a:lnTo>
                      <a:pt x="142200" y="197809"/>
                    </a:lnTo>
                    <a:lnTo>
                      <a:pt x="139929" y="197809"/>
                    </a:lnTo>
                    <a:cubicBezTo>
                      <a:pt x="104048" y="197809"/>
                      <a:pt x="73264" y="221631"/>
                      <a:pt x="60114" y="255580"/>
                    </a:cubicBezTo>
                    <a:lnTo>
                      <a:pt x="57001" y="272414"/>
                    </a:lnTo>
                    <a:lnTo>
                      <a:pt x="0" y="272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65" name="Freihandform 179">
                <a:extLst>
                  <a:ext uri="{FF2B5EF4-FFF2-40B4-BE49-F238E27FC236}">
                    <a16:creationId xmlns:a16="http://schemas.microsoft.com/office/drawing/2014/main" id="{B56B2355-A67B-4AFB-B8DE-298F9A0DEB5C}"/>
                  </a:ext>
                </a:extLst>
              </p:cNvPr>
              <p:cNvSpPr/>
              <p:nvPr/>
            </p:nvSpPr>
            <p:spPr>
              <a:xfrm rot="10800000">
                <a:off x="3365483" y="3157000"/>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66" name="Gleichschenkliges Dreieck 180">
                <a:extLst>
                  <a:ext uri="{FF2B5EF4-FFF2-40B4-BE49-F238E27FC236}">
                    <a16:creationId xmlns:a16="http://schemas.microsoft.com/office/drawing/2014/main" id="{898FA519-124C-441A-877E-9BF1B50A15C6}"/>
                  </a:ext>
                </a:extLst>
              </p:cNvPr>
              <p:cNvSpPr/>
              <p:nvPr/>
            </p:nvSpPr>
            <p:spPr>
              <a:xfrm rot="5400000">
                <a:off x="3426258" y="3160108"/>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21D5A721-58AC-428F-B8BA-A23290232972}"/>
              </a:ext>
            </a:extLst>
          </p:cNvPr>
          <p:cNvGrpSpPr/>
          <p:nvPr/>
        </p:nvGrpSpPr>
        <p:grpSpPr>
          <a:xfrm>
            <a:off x="815233" y="1075336"/>
            <a:ext cx="2433390" cy="2999384"/>
            <a:chOff x="815233" y="1075336"/>
            <a:chExt cx="2433390" cy="2999384"/>
          </a:xfrm>
        </p:grpSpPr>
        <p:sp>
          <p:nvSpPr>
            <p:cNvPr id="47" name="Rectangle 4">
              <a:extLst>
                <a:ext uri="{FF2B5EF4-FFF2-40B4-BE49-F238E27FC236}">
                  <a16:creationId xmlns:a16="http://schemas.microsoft.com/office/drawing/2014/main" id="{255625A4-5B92-48A3-9341-BAC618BDE8AA}"/>
                </a:ext>
              </a:extLst>
            </p:cNvPr>
            <p:cNvSpPr>
              <a:spLocks noChangeArrowheads="1"/>
            </p:cNvSpPr>
            <p:nvPr/>
          </p:nvSpPr>
          <p:spPr bwMode="auto">
            <a:xfrm>
              <a:off x="1734637" y="1221440"/>
              <a:ext cx="1512000"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Improving Data Governance and integrating Data Management for ensuring  easy/timely data access</a:t>
              </a:r>
            </a:p>
          </p:txBody>
        </p:sp>
        <p:sp>
          <p:nvSpPr>
            <p:cNvPr id="50" name="Rectangle 2">
              <a:extLst>
                <a:ext uri="{FF2B5EF4-FFF2-40B4-BE49-F238E27FC236}">
                  <a16:creationId xmlns:a16="http://schemas.microsoft.com/office/drawing/2014/main" id="{49E8DB12-9A17-4226-B81F-6879A79A07DA}"/>
                </a:ext>
              </a:extLst>
            </p:cNvPr>
            <p:cNvSpPr txBox="1">
              <a:spLocks noChangeArrowheads="1"/>
            </p:cNvSpPr>
            <p:nvPr/>
          </p:nvSpPr>
          <p:spPr bwMode="auto">
            <a:xfrm>
              <a:off x="1739296"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Rectangle 8">
              <a:extLst>
                <a:ext uri="{FF2B5EF4-FFF2-40B4-BE49-F238E27FC236}">
                  <a16:creationId xmlns:a16="http://schemas.microsoft.com/office/drawing/2014/main" id="{804346D8-5E03-43CA-B57D-DA4761AED5A7}"/>
                </a:ext>
              </a:extLst>
            </p:cNvPr>
            <p:cNvSpPr>
              <a:spLocks noChangeArrowheads="1"/>
            </p:cNvSpPr>
            <p:nvPr/>
          </p:nvSpPr>
          <p:spPr bwMode="auto">
            <a:xfrm>
              <a:off x="815233" y="3122699"/>
              <a:ext cx="928276" cy="952021"/>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Sponsors</a:t>
              </a:r>
            </a:p>
          </p:txBody>
        </p:sp>
        <p:sp>
          <p:nvSpPr>
            <p:cNvPr id="49" name="Rectangle 2">
              <a:extLst>
                <a:ext uri="{FF2B5EF4-FFF2-40B4-BE49-F238E27FC236}">
                  <a16:creationId xmlns:a16="http://schemas.microsoft.com/office/drawing/2014/main" id="{79650160-0861-453E-97F8-C61E8E0DD7DB}"/>
                </a:ext>
              </a:extLst>
            </p:cNvPr>
            <p:cNvSpPr txBox="1">
              <a:spLocks noChangeArrowheads="1"/>
            </p:cNvSpPr>
            <p:nvPr/>
          </p:nvSpPr>
          <p:spPr bwMode="auto">
            <a:xfrm>
              <a:off x="1734638" y="201640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Rectangle 8">
              <a:extLst>
                <a:ext uri="{FF2B5EF4-FFF2-40B4-BE49-F238E27FC236}">
                  <a16:creationId xmlns:a16="http://schemas.microsoft.com/office/drawing/2014/main" id="{013C9FF7-39E2-445A-9D5B-DA4FEB298E93}"/>
                </a:ext>
              </a:extLst>
            </p:cNvPr>
            <p:cNvSpPr>
              <a:spLocks noChangeArrowheads="1"/>
            </p:cNvSpPr>
            <p:nvPr/>
          </p:nvSpPr>
          <p:spPr bwMode="auto">
            <a:xfrm>
              <a:off x="815233" y="2020611"/>
              <a:ext cx="928276" cy="962778"/>
            </a:xfrm>
            <a:prstGeom prst="rect">
              <a:avLst/>
            </a:prstGeom>
            <a:solidFill>
              <a:srgbClr val="0069B4"/>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Owners</a:t>
              </a:r>
            </a:p>
          </p:txBody>
        </p:sp>
        <p:sp>
          <p:nvSpPr>
            <p:cNvPr id="28" name="Rectangle 27">
              <a:extLst>
                <a:ext uri="{FF2B5EF4-FFF2-40B4-BE49-F238E27FC236}">
                  <a16:creationId xmlns:a16="http://schemas.microsoft.com/office/drawing/2014/main" id="{4BBA5841-6F2C-4C48-9053-E90577F08CF4}"/>
                </a:ext>
              </a:extLst>
            </p:cNvPr>
            <p:cNvSpPr/>
            <p:nvPr/>
          </p:nvSpPr>
          <p:spPr>
            <a:xfrm>
              <a:off x="1738371" y="2017147"/>
              <a:ext cx="1510252"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5F6DAD0-172A-40E5-813B-67EDD4343076}"/>
                </a:ext>
              </a:extLst>
            </p:cNvPr>
            <p:cNvSpPr/>
            <p:nvPr/>
          </p:nvSpPr>
          <p:spPr>
            <a:xfrm>
              <a:off x="1558770"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grpSp>
      <p:grpSp>
        <p:nvGrpSpPr>
          <p:cNvPr id="8" name="Group 7">
            <a:extLst>
              <a:ext uri="{FF2B5EF4-FFF2-40B4-BE49-F238E27FC236}">
                <a16:creationId xmlns:a16="http://schemas.microsoft.com/office/drawing/2014/main" id="{99AD7B04-52ED-429F-BE6F-CD39093B2BAC}"/>
              </a:ext>
            </a:extLst>
          </p:cNvPr>
          <p:cNvGrpSpPr/>
          <p:nvPr/>
        </p:nvGrpSpPr>
        <p:grpSpPr>
          <a:xfrm>
            <a:off x="3264941" y="1075336"/>
            <a:ext cx="1683356" cy="2994451"/>
            <a:chOff x="3259878" y="1075336"/>
            <a:chExt cx="1683356" cy="2994451"/>
          </a:xfrm>
        </p:grpSpPr>
        <p:sp>
          <p:nvSpPr>
            <p:cNvPr id="63" name="Rectangle 4">
              <a:extLst>
                <a:ext uri="{FF2B5EF4-FFF2-40B4-BE49-F238E27FC236}">
                  <a16:creationId xmlns:a16="http://schemas.microsoft.com/office/drawing/2014/main" id="{F90919D1-1B9D-4005-B91B-0545EFEDD7A8}"/>
                </a:ext>
              </a:extLst>
            </p:cNvPr>
            <p:cNvSpPr>
              <a:spLocks noChangeArrowheads="1"/>
            </p:cNvSpPr>
            <p:nvPr/>
          </p:nvSpPr>
          <p:spPr bwMode="auto">
            <a:xfrm>
              <a:off x="3434068"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data model </a:t>
              </a:r>
              <a:r>
                <a:rPr kumimoji="0" lang="en-US" sz="1100" b="1" i="0" u="none" strike="noStrike" kern="1200" cap="none" spc="20" normalizeH="0" baseline="0" noProof="0">
                  <a:ln>
                    <a:noFill/>
                  </a:ln>
                  <a:solidFill>
                    <a:prstClr val="white"/>
                  </a:solidFill>
                  <a:effectLst/>
                  <a:uLnTx/>
                  <a:uFillTx/>
                  <a:latin typeface="Calibri" panose="020F0502020204030204"/>
                  <a:ea typeface="Times New Roman" panose="02020603050405020304" pitchFamily="18" charset="0"/>
                  <a:cs typeface="Times New Roman" panose="02020603050405020304" pitchFamily="18" charset="0"/>
                </a:rPr>
                <a:t>to better serve our clients  </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Rectangle 2">
              <a:extLst>
                <a:ext uri="{FF2B5EF4-FFF2-40B4-BE49-F238E27FC236}">
                  <a16:creationId xmlns:a16="http://schemas.microsoft.com/office/drawing/2014/main" id="{99F2E111-549F-4A74-A4F5-6DBCFD64010A}"/>
                </a:ext>
              </a:extLst>
            </p:cNvPr>
            <p:cNvSpPr txBox="1">
              <a:spLocks noChangeArrowheads="1"/>
            </p:cNvSpPr>
            <p:nvPr/>
          </p:nvSpPr>
          <p:spPr bwMode="auto">
            <a:xfrm>
              <a:off x="3443143"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Rectangle 2">
              <a:extLst>
                <a:ext uri="{FF2B5EF4-FFF2-40B4-BE49-F238E27FC236}">
                  <a16:creationId xmlns:a16="http://schemas.microsoft.com/office/drawing/2014/main" id="{4C844099-3FE7-4EBA-BF37-277AC4BFCD39}"/>
                </a:ext>
              </a:extLst>
            </p:cNvPr>
            <p:cNvSpPr txBox="1">
              <a:spLocks noChangeArrowheads="1"/>
            </p:cNvSpPr>
            <p:nvPr/>
          </p:nvSpPr>
          <p:spPr bwMode="auto">
            <a:xfrm>
              <a:off x="3438485"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  </a:t>
              </a:r>
            </a:p>
          </p:txBody>
        </p:sp>
        <p:sp>
          <p:nvSpPr>
            <p:cNvPr id="185" name="Rectangle 184">
              <a:extLst>
                <a:ext uri="{FF2B5EF4-FFF2-40B4-BE49-F238E27FC236}">
                  <a16:creationId xmlns:a16="http://schemas.microsoft.com/office/drawing/2014/main" id="{6872F10B-41FA-4A2E-BEB7-188A865490AE}"/>
                </a:ext>
              </a:extLst>
            </p:cNvPr>
            <p:cNvSpPr/>
            <p:nvPr/>
          </p:nvSpPr>
          <p:spPr>
            <a:xfrm>
              <a:off x="3438484" y="2017147"/>
              <a:ext cx="1490494"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7558A64B-3102-4C1A-BD73-E3CD16914DD7}"/>
                </a:ext>
              </a:extLst>
            </p:cNvPr>
            <p:cNvSpPr/>
            <p:nvPr/>
          </p:nvSpPr>
          <p:spPr>
            <a:xfrm>
              <a:off x="3259878"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grpSp>
      <p:grpSp>
        <p:nvGrpSpPr>
          <p:cNvPr id="9" name="Group 8">
            <a:extLst>
              <a:ext uri="{FF2B5EF4-FFF2-40B4-BE49-F238E27FC236}">
                <a16:creationId xmlns:a16="http://schemas.microsoft.com/office/drawing/2014/main" id="{6593F814-39F5-486F-BAB7-1CA5D7F0314A}"/>
              </a:ext>
            </a:extLst>
          </p:cNvPr>
          <p:cNvGrpSpPr/>
          <p:nvPr/>
        </p:nvGrpSpPr>
        <p:grpSpPr>
          <a:xfrm>
            <a:off x="8167501" y="1075336"/>
            <a:ext cx="1688834" cy="2996623"/>
            <a:chOff x="8304058" y="1075336"/>
            <a:chExt cx="1688834" cy="2996623"/>
          </a:xfrm>
        </p:grpSpPr>
        <p:sp>
          <p:nvSpPr>
            <p:cNvPr id="79" name="Rectangle 4">
              <a:extLst>
                <a:ext uri="{FF2B5EF4-FFF2-40B4-BE49-F238E27FC236}">
                  <a16:creationId xmlns:a16="http://schemas.microsoft.com/office/drawing/2014/main" id="{DEF6FC7B-471C-44C1-96F6-6ACC4DE079E9}"/>
                </a:ext>
              </a:extLst>
            </p:cNvPr>
            <p:cNvSpPr>
              <a:spLocks noChangeArrowheads="1"/>
            </p:cNvSpPr>
            <p:nvPr/>
          </p:nvSpPr>
          <p:spPr bwMode="auto">
            <a:xfrm>
              <a:off x="8488143"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for innovation and analytics to improve investments and client experience​</a:t>
              </a:r>
            </a:p>
          </p:txBody>
        </p:sp>
        <p:sp>
          <p:nvSpPr>
            <p:cNvPr id="81" name="Rectangle 2">
              <a:extLst>
                <a:ext uri="{FF2B5EF4-FFF2-40B4-BE49-F238E27FC236}">
                  <a16:creationId xmlns:a16="http://schemas.microsoft.com/office/drawing/2014/main" id="{28C913FD-C82D-443C-A1ED-6F2DB00E3B68}"/>
                </a:ext>
              </a:extLst>
            </p:cNvPr>
            <p:cNvSpPr txBox="1">
              <a:spLocks noChangeArrowheads="1"/>
            </p:cNvSpPr>
            <p:nvPr/>
          </p:nvSpPr>
          <p:spPr bwMode="auto">
            <a:xfrm>
              <a:off x="8492801" y="3109181"/>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Rectangle 2">
              <a:extLst>
                <a:ext uri="{FF2B5EF4-FFF2-40B4-BE49-F238E27FC236}">
                  <a16:creationId xmlns:a16="http://schemas.microsoft.com/office/drawing/2014/main" id="{53968EEB-373D-4D2E-AC7A-4ED38C122446}"/>
                </a:ext>
              </a:extLst>
            </p:cNvPr>
            <p:cNvSpPr txBox="1">
              <a:spLocks noChangeArrowheads="1"/>
            </p:cNvSpPr>
            <p:nvPr/>
          </p:nvSpPr>
          <p:spPr bwMode="auto">
            <a:xfrm>
              <a:off x="8488143" y="2028736"/>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G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Stuart Donald</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87" name="Rectangle 186">
              <a:extLst>
                <a:ext uri="{FF2B5EF4-FFF2-40B4-BE49-F238E27FC236}">
                  <a16:creationId xmlns:a16="http://schemas.microsoft.com/office/drawing/2014/main" id="{9EBB1923-3A1F-4A65-BF89-A93D53C007E5}"/>
                </a:ext>
              </a:extLst>
            </p:cNvPr>
            <p:cNvSpPr/>
            <p:nvPr/>
          </p:nvSpPr>
          <p:spPr>
            <a:xfrm>
              <a:off x="8487034"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2179940C-1F35-4E44-A014-F5047B37E0D9}"/>
                </a:ext>
              </a:extLst>
            </p:cNvPr>
            <p:cNvSpPr/>
            <p:nvPr/>
          </p:nvSpPr>
          <p:spPr>
            <a:xfrm>
              <a:off x="8304058"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grpSp>
      <p:grpSp>
        <p:nvGrpSpPr>
          <p:cNvPr id="14" name="Group 13">
            <a:extLst>
              <a:ext uri="{FF2B5EF4-FFF2-40B4-BE49-F238E27FC236}">
                <a16:creationId xmlns:a16="http://schemas.microsoft.com/office/drawing/2014/main" id="{E984D635-55B2-4078-8A82-99D0BF84DF69}"/>
              </a:ext>
            </a:extLst>
          </p:cNvPr>
          <p:cNvGrpSpPr/>
          <p:nvPr/>
        </p:nvGrpSpPr>
        <p:grpSpPr>
          <a:xfrm>
            <a:off x="9872655" y="1075336"/>
            <a:ext cx="1691573" cy="2994451"/>
            <a:chOff x="10005166" y="1075336"/>
            <a:chExt cx="1691573" cy="2994451"/>
          </a:xfrm>
        </p:grpSpPr>
        <p:sp>
          <p:nvSpPr>
            <p:cNvPr id="75" name="Rectangle 4">
              <a:extLst>
                <a:ext uri="{FF2B5EF4-FFF2-40B4-BE49-F238E27FC236}">
                  <a16:creationId xmlns:a16="http://schemas.microsoft.com/office/drawing/2014/main" id="{E23BD61B-B794-4F27-8DDA-F5CB00C7A2E6}"/>
                </a:ext>
              </a:extLst>
            </p:cNvPr>
            <p:cNvSpPr>
              <a:spLocks noChangeArrowheads="1"/>
            </p:cNvSpPr>
            <p:nvPr/>
          </p:nvSpPr>
          <p:spPr bwMode="auto">
            <a:xfrm>
              <a:off x="10191990"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alibri" panose="020F0502020204030204"/>
                  <a:ea typeface="+mn-ea"/>
                  <a:cs typeface="+mn-cs"/>
                </a:rPr>
                <a:t>AAM as preferred Responsible Investment provid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Rectangle 2">
              <a:extLst>
                <a:ext uri="{FF2B5EF4-FFF2-40B4-BE49-F238E27FC236}">
                  <a16:creationId xmlns:a16="http://schemas.microsoft.com/office/drawing/2014/main" id="{88D35E88-4356-4B9F-91C4-29CD2FD6B792}"/>
                </a:ext>
              </a:extLst>
            </p:cNvPr>
            <p:cNvSpPr txBox="1">
              <a:spLocks noChangeArrowheads="1"/>
            </p:cNvSpPr>
            <p:nvPr/>
          </p:nvSpPr>
          <p:spPr bwMode="auto">
            <a:xfrm>
              <a:off x="10196648"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Rectangle 2">
              <a:extLst>
                <a:ext uri="{FF2B5EF4-FFF2-40B4-BE49-F238E27FC236}">
                  <a16:creationId xmlns:a16="http://schemas.microsoft.com/office/drawing/2014/main" id="{67EC8E3B-97AD-468E-8BF7-F878EB1F1CAD}"/>
                </a:ext>
              </a:extLst>
            </p:cNvPr>
            <p:cNvSpPr txBox="1">
              <a:spLocks noChangeArrowheads="1"/>
            </p:cNvSpPr>
            <p:nvPr/>
          </p:nvSpPr>
          <p:spPr bwMode="auto">
            <a:xfrm>
              <a:off x="10191990"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R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Brunno Marade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F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drian Hull</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88" name="Rectangle 187">
              <a:extLst>
                <a:ext uri="{FF2B5EF4-FFF2-40B4-BE49-F238E27FC236}">
                  <a16:creationId xmlns:a16="http://schemas.microsoft.com/office/drawing/2014/main" id="{B0A386ED-499E-4097-8ADD-142356B80650}"/>
                </a:ext>
              </a:extLst>
            </p:cNvPr>
            <p:cNvSpPr/>
            <p:nvPr/>
          </p:nvSpPr>
          <p:spPr>
            <a:xfrm>
              <a:off x="10190881"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245D7FF1-A431-476A-8E10-633B66567EE3}"/>
                </a:ext>
              </a:extLst>
            </p:cNvPr>
            <p:cNvSpPr/>
            <p:nvPr/>
          </p:nvSpPr>
          <p:spPr>
            <a:xfrm>
              <a:off x="10005166"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grpSp>
      <p:sp>
        <p:nvSpPr>
          <p:cNvPr id="6" name="Down Arrow 5">
            <a:extLst>
              <a:ext uri="{FF2B5EF4-FFF2-40B4-BE49-F238E27FC236}">
                <a16:creationId xmlns:a16="http://schemas.microsoft.com/office/drawing/2014/main" id="{BAB7A19B-1E7A-4C96-80ED-9929F78BD080}"/>
              </a:ext>
            </a:extLst>
          </p:cNvPr>
          <p:cNvSpPr/>
          <p:nvPr/>
        </p:nvSpPr>
        <p:spPr>
          <a:xfrm>
            <a:off x="6401596" y="4457466"/>
            <a:ext cx="493841" cy="262184"/>
          </a:xfrm>
          <a:prstGeom prst="downArrow">
            <a:avLst/>
          </a:prstGeom>
          <a:solidFill>
            <a:srgbClr val="CB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2">
            <a:extLst>
              <a:ext uri="{FF2B5EF4-FFF2-40B4-BE49-F238E27FC236}">
                <a16:creationId xmlns:a16="http://schemas.microsoft.com/office/drawing/2014/main" id="{8AB37E4C-E40D-4767-A5CA-0A930A11B20F}"/>
              </a:ext>
            </a:extLst>
          </p:cNvPr>
          <p:cNvSpPr txBox="1">
            <a:spLocks noChangeArrowheads="1"/>
          </p:cNvSpPr>
          <p:nvPr/>
        </p:nvSpPr>
        <p:spPr bwMode="auto">
          <a:xfrm>
            <a:off x="4113570" y="5674805"/>
            <a:ext cx="4683773" cy="962778"/>
          </a:xfrm>
          <a:prstGeom prst="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171450" marR="0" lvl="0" indent="-17145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Rectangle 2">
            <a:extLst>
              <a:ext uri="{FF2B5EF4-FFF2-40B4-BE49-F238E27FC236}">
                <a16:creationId xmlns:a16="http://schemas.microsoft.com/office/drawing/2014/main" id="{51BB485A-228D-4278-BBDB-05B571EFCAEB}"/>
              </a:ext>
            </a:extLst>
          </p:cNvPr>
          <p:cNvSpPr txBox="1">
            <a:spLocks noChangeArrowheads="1"/>
          </p:cNvSpPr>
          <p:nvPr/>
        </p:nvSpPr>
        <p:spPr bwMode="auto">
          <a:xfrm>
            <a:off x="5030575" y="4712105"/>
            <a:ext cx="3992070" cy="1925478"/>
          </a:xfrm>
          <a:prstGeom prst="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171450" marR="0" lvl="0" indent="-17145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29" name="Group 71">
            <a:extLst>
              <a:ext uri="{FF2B5EF4-FFF2-40B4-BE49-F238E27FC236}">
                <a16:creationId xmlns:a16="http://schemas.microsoft.com/office/drawing/2014/main" id="{CB219C5B-80C1-47F0-B7ED-3F36757465B7}"/>
              </a:ext>
            </a:extLst>
          </p:cNvPr>
          <p:cNvGrpSpPr>
            <a:grpSpLocks noChangeAspect="1"/>
          </p:cNvGrpSpPr>
          <p:nvPr/>
        </p:nvGrpSpPr>
        <p:grpSpPr bwMode="auto">
          <a:xfrm>
            <a:off x="9557444" y="5008147"/>
            <a:ext cx="675482" cy="529673"/>
            <a:chOff x="3091" y="1986"/>
            <a:chExt cx="896" cy="620"/>
          </a:xfrm>
          <a:solidFill>
            <a:schemeClr val="accent1"/>
          </a:solidFill>
        </p:grpSpPr>
        <p:sp>
          <p:nvSpPr>
            <p:cNvPr id="130" name="Freeform 72">
              <a:extLst>
                <a:ext uri="{FF2B5EF4-FFF2-40B4-BE49-F238E27FC236}">
                  <a16:creationId xmlns:a16="http://schemas.microsoft.com/office/drawing/2014/main" id="{400144E8-9691-44EA-B32A-ECD4175F87A1}"/>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73">
              <a:extLst>
                <a:ext uri="{FF2B5EF4-FFF2-40B4-BE49-F238E27FC236}">
                  <a16:creationId xmlns:a16="http://schemas.microsoft.com/office/drawing/2014/main" id="{3850D4B0-809D-415D-9298-3ED10865CBA1}"/>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74">
              <a:extLst>
                <a:ext uri="{FF2B5EF4-FFF2-40B4-BE49-F238E27FC236}">
                  <a16:creationId xmlns:a16="http://schemas.microsoft.com/office/drawing/2014/main" id="{6D0F845A-8094-43D8-A327-A2D02CE209B1}"/>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Rectangle 75">
              <a:extLst>
                <a:ext uri="{FF2B5EF4-FFF2-40B4-BE49-F238E27FC236}">
                  <a16:creationId xmlns:a16="http://schemas.microsoft.com/office/drawing/2014/main" id="{3DC1AC9B-00F9-4F71-897A-ECE3615951E7}"/>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Line 76">
              <a:extLst>
                <a:ext uri="{FF2B5EF4-FFF2-40B4-BE49-F238E27FC236}">
                  <a16:creationId xmlns:a16="http://schemas.microsoft.com/office/drawing/2014/main" id="{5ABA575A-79F2-463B-8B9D-264383C2348E}"/>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Line 77">
              <a:extLst>
                <a:ext uri="{FF2B5EF4-FFF2-40B4-BE49-F238E27FC236}">
                  <a16:creationId xmlns:a16="http://schemas.microsoft.com/office/drawing/2014/main" id="{9CB2B109-AAD3-4649-ADFB-51AF82ED20C9}"/>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78">
              <a:extLst>
                <a:ext uri="{FF2B5EF4-FFF2-40B4-BE49-F238E27FC236}">
                  <a16:creationId xmlns:a16="http://schemas.microsoft.com/office/drawing/2014/main" id="{EB5033CD-E3E9-4C82-A74E-88D0B459D2D3}"/>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Freeform 79">
              <a:extLst>
                <a:ext uri="{FF2B5EF4-FFF2-40B4-BE49-F238E27FC236}">
                  <a16:creationId xmlns:a16="http://schemas.microsoft.com/office/drawing/2014/main" id="{A71BAE29-DBD1-476E-8FAF-1759E1481623}"/>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80">
              <a:extLst>
                <a:ext uri="{FF2B5EF4-FFF2-40B4-BE49-F238E27FC236}">
                  <a16:creationId xmlns:a16="http://schemas.microsoft.com/office/drawing/2014/main" id="{78B34E72-9C56-4257-8270-0AF1604FF85E}"/>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0" name="Freeform 81">
              <a:extLst>
                <a:ext uri="{FF2B5EF4-FFF2-40B4-BE49-F238E27FC236}">
                  <a16:creationId xmlns:a16="http://schemas.microsoft.com/office/drawing/2014/main" id="{A8F9F43F-D1D6-4A3B-968A-1E7B21A5C6F4}"/>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Rectangle 82">
              <a:extLst>
                <a:ext uri="{FF2B5EF4-FFF2-40B4-BE49-F238E27FC236}">
                  <a16:creationId xmlns:a16="http://schemas.microsoft.com/office/drawing/2014/main" id="{062F8AA4-EB11-4B16-AD0E-60C78FF9DDB5}"/>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Rectangle 83">
              <a:extLst>
                <a:ext uri="{FF2B5EF4-FFF2-40B4-BE49-F238E27FC236}">
                  <a16:creationId xmlns:a16="http://schemas.microsoft.com/office/drawing/2014/main" id="{F0C03E85-4FF3-4E9E-BEB1-A990A64C6E8E}"/>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Freeform 84">
              <a:extLst>
                <a:ext uri="{FF2B5EF4-FFF2-40B4-BE49-F238E27FC236}">
                  <a16:creationId xmlns:a16="http://schemas.microsoft.com/office/drawing/2014/main" id="{A46D6E88-C0A9-4A8E-892A-FAD4489001F2}"/>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Rectangle 85">
              <a:extLst>
                <a:ext uri="{FF2B5EF4-FFF2-40B4-BE49-F238E27FC236}">
                  <a16:creationId xmlns:a16="http://schemas.microsoft.com/office/drawing/2014/main" id="{74C9C1C6-40F0-40E3-83FA-6CE23B5DC334}"/>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Rectangle 86">
              <a:extLst>
                <a:ext uri="{FF2B5EF4-FFF2-40B4-BE49-F238E27FC236}">
                  <a16:creationId xmlns:a16="http://schemas.microsoft.com/office/drawing/2014/main" id="{D5872578-C4F2-4812-807C-A99F9E71E518}"/>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6" name="Rectangle 8">
            <a:extLst>
              <a:ext uri="{FF2B5EF4-FFF2-40B4-BE49-F238E27FC236}">
                <a16:creationId xmlns:a16="http://schemas.microsoft.com/office/drawing/2014/main" id="{8731D1F1-C411-431E-B6E6-D3C2EB31177C}"/>
              </a:ext>
            </a:extLst>
          </p:cNvPr>
          <p:cNvSpPr>
            <a:spLocks noChangeArrowheads="1"/>
          </p:cNvSpPr>
          <p:nvPr/>
        </p:nvSpPr>
        <p:spPr bwMode="auto">
          <a:xfrm>
            <a:off x="4113570" y="4712105"/>
            <a:ext cx="928276" cy="962778"/>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Guiding Coalition</a:t>
            </a:r>
          </a:p>
        </p:txBody>
      </p:sp>
      <p:sp>
        <p:nvSpPr>
          <p:cNvPr id="177" name="Rectangle 2">
            <a:extLst>
              <a:ext uri="{FF2B5EF4-FFF2-40B4-BE49-F238E27FC236}">
                <a16:creationId xmlns:a16="http://schemas.microsoft.com/office/drawing/2014/main" id="{F9ABC1DD-EC47-4434-A57C-1D4A96ADC564}"/>
              </a:ext>
            </a:extLst>
          </p:cNvPr>
          <p:cNvSpPr txBox="1">
            <a:spLocks noChangeArrowheads="1"/>
          </p:cNvSpPr>
          <p:nvPr/>
        </p:nvSpPr>
        <p:spPr bwMode="auto">
          <a:xfrm>
            <a:off x="5026052" y="4711181"/>
            <a:ext cx="3996594" cy="962778"/>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2"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O: Wouter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FO: Rishi Santokh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VP, Portfolio RM, Steve Lempa</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Calibri"/>
              </a:rPr>
              <a:t> (Jane Daniel)</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G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Stuart  Donald​</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R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Brunno Marade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ead of data office​ (?)</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IO</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Kim Bormann </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AM</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mp; CS: Erik den Hertog</a:t>
            </a:r>
          </a:p>
          <a:p>
            <a:pPr marL="0" marR="0" lvl="0" indent="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PO: David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azeldine</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Rectangle 8">
            <a:extLst>
              <a:ext uri="{FF2B5EF4-FFF2-40B4-BE49-F238E27FC236}">
                <a16:creationId xmlns:a16="http://schemas.microsoft.com/office/drawing/2014/main" id="{D20F7D18-058A-47DB-ADAA-E7CE6B7A002F}"/>
              </a:ext>
            </a:extLst>
          </p:cNvPr>
          <p:cNvSpPr>
            <a:spLocks noChangeArrowheads="1"/>
          </p:cNvSpPr>
          <p:nvPr/>
        </p:nvSpPr>
        <p:spPr bwMode="auto">
          <a:xfrm>
            <a:off x="4113570" y="5674805"/>
            <a:ext cx="928276" cy="962778"/>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Optional members</a:t>
            </a:r>
          </a:p>
        </p:txBody>
      </p:sp>
      <p:sp>
        <p:nvSpPr>
          <p:cNvPr id="179" name="Rectangle 2">
            <a:extLst>
              <a:ext uri="{FF2B5EF4-FFF2-40B4-BE49-F238E27FC236}">
                <a16:creationId xmlns:a16="http://schemas.microsoft.com/office/drawing/2014/main" id="{141529C4-50B9-4BB7-89EA-A515F89493CD}"/>
              </a:ext>
            </a:extLst>
          </p:cNvPr>
          <p:cNvSpPr txBox="1">
            <a:spLocks noChangeArrowheads="1"/>
          </p:cNvSpPr>
          <p:nvPr/>
        </p:nvSpPr>
        <p:spPr bwMode="auto">
          <a:xfrm>
            <a:off x="5030575" y="5674805"/>
            <a:ext cx="3997375" cy="962778"/>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2"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84138" algn="l" defTabSz="80645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quities CIO: Stephan Jones</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al Assets CIO: Lara Osterhaus</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istribution: Chris Thompson</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inance BP: Stuart Watson </a:t>
            </a:r>
          </a:p>
          <a:p>
            <a:pPr marL="182563" marR="0" lvl="0" indent="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None/>
              <a:tabLst/>
              <a:defRPr/>
            </a:pPr>
            <a:endPar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roup CDAO: Hiek van der Scheer</a:t>
            </a:r>
          </a:p>
        </p:txBody>
      </p:sp>
      <p:cxnSp>
        <p:nvCxnSpPr>
          <p:cNvPr id="180" name="Straight Connector 179">
            <a:extLst>
              <a:ext uri="{FF2B5EF4-FFF2-40B4-BE49-F238E27FC236}">
                <a16:creationId xmlns:a16="http://schemas.microsoft.com/office/drawing/2014/main" id="{38B93F1A-6D1D-4C80-8B02-29037731C77C}"/>
              </a:ext>
            </a:extLst>
          </p:cNvPr>
          <p:cNvCxnSpPr>
            <a:cxnSpLocks/>
          </p:cNvCxnSpPr>
          <p:nvPr/>
        </p:nvCxnSpPr>
        <p:spPr>
          <a:xfrm>
            <a:off x="4118351" y="5674844"/>
            <a:ext cx="928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382EF5C8-3ECB-432D-922D-D427688E2BDC}"/>
              </a:ext>
            </a:extLst>
          </p:cNvPr>
          <p:cNvCxnSpPr/>
          <p:nvPr/>
        </p:nvCxnSpPr>
        <p:spPr>
          <a:xfrm>
            <a:off x="5037676" y="5674805"/>
            <a:ext cx="3996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82" name="Down Arrow 123">
            <a:extLst>
              <a:ext uri="{FF2B5EF4-FFF2-40B4-BE49-F238E27FC236}">
                <a16:creationId xmlns:a16="http://schemas.microsoft.com/office/drawing/2014/main" id="{AD98A5ED-C42C-485F-A651-F1D822BE47FF}"/>
              </a:ext>
            </a:extLst>
          </p:cNvPr>
          <p:cNvSpPr/>
          <p:nvPr/>
        </p:nvSpPr>
        <p:spPr>
          <a:xfrm rot="16200000">
            <a:off x="9043558" y="5445636"/>
            <a:ext cx="439168" cy="48099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E5FAC4-5990-4614-A13C-66696E07B48F}"/>
              </a:ext>
            </a:extLst>
          </p:cNvPr>
          <p:cNvGrpSpPr/>
          <p:nvPr/>
        </p:nvGrpSpPr>
        <p:grpSpPr>
          <a:xfrm>
            <a:off x="4964615" y="1075336"/>
            <a:ext cx="3186568" cy="2994451"/>
            <a:chOff x="5102331" y="1075336"/>
            <a:chExt cx="3186568" cy="2994451"/>
          </a:xfrm>
        </p:grpSpPr>
        <p:sp>
          <p:nvSpPr>
            <p:cNvPr id="68" name="Rectangle 4">
              <a:extLst>
                <a:ext uri="{FF2B5EF4-FFF2-40B4-BE49-F238E27FC236}">
                  <a16:creationId xmlns:a16="http://schemas.microsoft.com/office/drawing/2014/main" id="{EE50C358-27EB-4B4E-B30D-1CAEDAE20680}"/>
                </a:ext>
              </a:extLst>
            </p:cNvPr>
            <p:cNvSpPr>
              <a:spLocks noChangeArrowheads="1"/>
            </p:cNvSpPr>
            <p:nvPr/>
          </p:nvSpPr>
          <p:spPr bwMode="auto">
            <a:xfrm>
              <a:off x="5278056"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 (internal)</a:t>
              </a:r>
            </a:p>
          </p:txBody>
        </p:sp>
        <p:sp>
          <p:nvSpPr>
            <p:cNvPr id="72" name="Rectangle 2">
              <a:extLst>
                <a:ext uri="{FF2B5EF4-FFF2-40B4-BE49-F238E27FC236}">
                  <a16:creationId xmlns:a16="http://schemas.microsoft.com/office/drawing/2014/main" id="{6C90CC91-4665-4964-B869-A14EE5215C51}"/>
                </a:ext>
              </a:extLst>
            </p:cNvPr>
            <p:cNvSpPr txBox="1">
              <a:spLocks noChangeArrowheads="1"/>
            </p:cNvSpPr>
            <p:nvPr/>
          </p:nvSpPr>
          <p:spPr bwMode="auto">
            <a:xfrm>
              <a:off x="5288335"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Rectangle 2">
              <a:extLst>
                <a:ext uri="{FF2B5EF4-FFF2-40B4-BE49-F238E27FC236}">
                  <a16:creationId xmlns:a16="http://schemas.microsoft.com/office/drawing/2014/main" id="{AAE57BC5-3A70-428B-89DF-452E6CD77207}"/>
                </a:ext>
              </a:extLst>
            </p:cNvPr>
            <p:cNvSpPr txBox="1">
              <a:spLocks noChangeArrowheads="1"/>
            </p:cNvSpPr>
            <p:nvPr/>
          </p:nvSpPr>
          <p:spPr bwMode="auto">
            <a:xfrm>
              <a:off x="5283677"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FO: Rishi Santosh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O: Wouter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86" name="Rectangle 185">
              <a:extLst>
                <a:ext uri="{FF2B5EF4-FFF2-40B4-BE49-F238E27FC236}">
                  <a16:creationId xmlns:a16="http://schemas.microsoft.com/office/drawing/2014/main" id="{5EFAE694-0666-428B-A8E9-E4B6F7F2AA2D}"/>
                </a:ext>
              </a:extLst>
            </p:cNvPr>
            <p:cNvSpPr/>
            <p:nvPr/>
          </p:nvSpPr>
          <p:spPr>
            <a:xfrm>
              <a:off x="5274079"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1CD8ADE4-7C4D-42E7-9E3C-F6C7AB13136B}"/>
                </a:ext>
              </a:extLst>
            </p:cNvPr>
            <p:cNvSpPr/>
            <p:nvPr/>
          </p:nvSpPr>
          <p:spPr>
            <a:xfrm>
              <a:off x="5102331"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3</a:t>
              </a:r>
              <a:r>
                <a:rPr kumimoji="0" lang="de-DE" sz="1200" b="0" i="0" u="none" strike="noStrike" kern="1200" cap="none" spc="0" normalizeH="0" baseline="0" noProof="0">
                  <a:ln>
                    <a:noFill/>
                  </a:ln>
                  <a:solidFill>
                    <a:prstClr val="white"/>
                  </a:solidFill>
                  <a:effectLst/>
                  <a:uLnTx/>
                  <a:uFillTx/>
                  <a:latin typeface="Calibri" panose="020F0502020204030204"/>
                  <a:ea typeface="+mn-ea"/>
                  <a:cs typeface="+mn-cs"/>
                </a:rPr>
                <a:t>a</a:t>
              </a:r>
            </a:p>
          </p:txBody>
        </p:sp>
        <p:sp>
          <p:nvSpPr>
            <p:cNvPr id="142" name="Rectangle 4">
              <a:extLst>
                <a:ext uri="{FF2B5EF4-FFF2-40B4-BE49-F238E27FC236}">
                  <a16:creationId xmlns:a16="http://schemas.microsoft.com/office/drawing/2014/main" id="{074AE32D-1778-4713-9911-D9C74ED617ED}"/>
                </a:ext>
              </a:extLst>
            </p:cNvPr>
            <p:cNvSpPr>
              <a:spLocks noChangeArrowheads="1"/>
            </p:cNvSpPr>
            <p:nvPr/>
          </p:nvSpPr>
          <p:spPr bwMode="auto">
            <a:xfrm>
              <a:off x="6778529"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a:t>
              </a:r>
            </a:p>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external)</a:t>
              </a:r>
            </a:p>
          </p:txBody>
        </p:sp>
        <p:sp>
          <p:nvSpPr>
            <p:cNvPr id="143" name="Rectangle 2">
              <a:extLst>
                <a:ext uri="{FF2B5EF4-FFF2-40B4-BE49-F238E27FC236}">
                  <a16:creationId xmlns:a16="http://schemas.microsoft.com/office/drawing/2014/main" id="{951F2A2C-8052-4098-B72C-C445EFCB4774}"/>
                </a:ext>
              </a:extLst>
            </p:cNvPr>
            <p:cNvSpPr txBox="1">
              <a:spLocks noChangeArrowheads="1"/>
            </p:cNvSpPr>
            <p:nvPr/>
          </p:nvSpPr>
          <p:spPr bwMode="auto">
            <a:xfrm>
              <a:off x="6788808"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Rectangle 2">
              <a:extLst>
                <a:ext uri="{FF2B5EF4-FFF2-40B4-BE49-F238E27FC236}">
                  <a16:creationId xmlns:a16="http://schemas.microsoft.com/office/drawing/2014/main" id="{34C323FE-F45D-4EB7-ACE8-B3A93B6F5A6F}"/>
                </a:ext>
              </a:extLst>
            </p:cNvPr>
            <p:cNvSpPr txBox="1">
              <a:spLocks noChangeArrowheads="1"/>
            </p:cNvSpPr>
            <p:nvPr/>
          </p:nvSpPr>
          <p:spPr bwMode="auto">
            <a:xfrm>
              <a:off x="6784150"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AM</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mp; CS: Erik den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erto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Wout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45" name="Rectangle 144">
              <a:extLst>
                <a:ext uri="{FF2B5EF4-FFF2-40B4-BE49-F238E27FC236}">
                  <a16:creationId xmlns:a16="http://schemas.microsoft.com/office/drawing/2014/main" id="{6B963CA5-4870-42D8-9D25-7EA3FE44EF82}"/>
                </a:ext>
              </a:extLst>
            </p:cNvPr>
            <p:cNvSpPr/>
            <p:nvPr/>
          </p:nvSpPr>
          <p:spPr>
            <a:xfrm>
              <a:off x="6774552"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B17B4E43-B9FC-43FD-87C9-6AA56CAC5EA4}"/>
                </a:ext>
              </a:extLst>
            </p:cNvPr>
            <p:cNvSpPr/>
            <p:nvPr/>
          </p:nvSpPr>
          <p:spPr>
            <a:xfrm>
              <a:off x="6602804"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3</a:t>
              </a:r>
              <a:r>
                <a:rPr kumimoji="0" lang="de-DE" sz="1200" b="0" i="0" u="none" strike="noStrike" kern="1200" cap="none" spc="0" normalizeH="0" baseline="0" noProof="0">
                  <a:ln>
                    <a:noFill/>
                  </a:ln>
                  <a:solidFill>
                    <a:prstClr val="white"/>
                  </a:solidFill>
                  <a:effectLst/>
                  <a:uLnTx/>
                  <a:uFillTx/>
                  <a:latin typeface="Calibri" panose="020F0502020204030204"/>
                  <a:ea typeface="+mn-ea"/>
                  <a:cs typeface="+mn-cs"/>
                </a:rPr>
                <a:t>b</a:t>
              </a: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57450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1"/>
            </p:custDataLst>
            <p:extLst>
              <p:ext uri="{D42A27DB-BD31-4B8C-83A1-F6EECF244321}">
                <p14:modId xmlns:p14="http://schemas.microsoft.com/office/powerpoint/2010/main" val="1113061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lvl="0" defTabSz="913029">
              <a:defRPr/>
            </a:pPr>
            <a:r>
              <a:rPr lang="en-US" sz="2798">
                <a:solidFill>
                  <a:srgbClr val="0069B4"/>
                </a:solidFill>
                <a:latin typeface="Calibri Light" panose="020F0302020204030204"/>
              </a:rPr>
              <a:t>What do we ask from you in the guiding coalition?</a:t>
            </a:r>
            <a:endPar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endParaRPr>
          </a:p>
        </p:txBody>
      </p:sp>
      <p:grpSp>
        <p:nvGrpSpPr>
          <p:cNvPr id="67" name="Group 66">
            <a:extLst>
              <a:ext uri="{FF2B5EF4-FFF2-40B4-BE49-F238E27FC236}">
                <a16:creationId xmlns:a16="http://schemas.microsoft.com/office/drawing/2014/main" id="{BF76C1D7-4874-4D07-8C9E-75069BA34229}"/>
              </a:ext>
            </a:extLst>
          </p:cNvPr>
          <p:cNvGrpSpPr/>
          <p:nvPr/>
        </p:nvGrpSpPr>
        <p:grpSpPr>
          <a:xfrm>
            <a:off x="6381055" y="3852329"/>
            <a:ext cx="4464000" cy="329916"/>
            <a:chOff x="4361358" y="3633953"/>
            <a:chExt cx="3477120" cy="330088"/>
          </a:xfrm>
        </p:grpSpPr>
        <p:sp>
          <p:nvSpPr>
            <p:cNvPr id="68" name="Arrow: Left-Right 67">
              <a:extLst>
                <a:ext uri="{FF2B5EF4-FFF2-40B4-BE49-F238E27FC236}">
                  <a16:creationId xmlns:a16="http://schemas.microsoft.com/office/drawing/2014/main" id="{A945944C-1AA4-44A8-92C1-808165740B1C}"/>
                </a:ext>
              </a:extLst>
            </p:cNvPr>
            <p:cNvSpPr/>
            <p:nvPr/>
          </p:nvSpPr>
          <p:spPr>
            <a:xfrm>
              <a:off x="4361358" y="3633953"/>
              <a:ext cx="3477120" cy="33008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441794">
                <a:lnSpc>
                  <a:spcPct val="110000"/>
                </a:lnSpc>
                <a:spcBef>
                  <a:spcPct val="20000"/>
                </a:spcBef>
              </a:pPr>
              <a:r>
                <a:rPr lang="en-US" sz="1600" b="1">
                  <a:solidFill>
                    <a:schemeClr val="tx1"/>
                  </a:solidFill>
                  <a:sym typeface="EYInterstate Light" panose="02000506000000020004" pitchFamily="2" charset="0"/>
                </a:rPr>
                <a:t>Strategic data decisions</a:t>
              </a:r>
            </a:p>
          </p:txBody>
        </p:sp>
        <p:cxnSp>
          <p:nvCxnSpPr>
            <p:cNvPr id="69" name="Straight Connector 68">
              <a:extLst>
                <a:ext uri="{FF2B5EF4-FFF2-40B4-BE49-F238E27FC236}">
                  <a16:creationId xmlns:a16="http://schemas.microsoft.com/office/drawing/2014/main" id="{C1E54D22-087E-42AF-8CB6-183025037764}"/>
                </a:ext>
              </a:extLst>
            </p:cNvPr>
            <p:cNvCxnSpPr>
              <a:stCxn id="68" idx="4"/>
              <a:endCxn id="68" idx="6"/>
            </p:cNvCxnSpPr>
            <p:nvPr/>
          </p:nvCxnSpPr>
          <p:spPr>
            <a:xfrm>
              <a:off x="4361358" y="3964041"/>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436FA5DC-6C01-4A8D-A618-EA72290AC060}"/>
              </a:ext>
            </a:extLst>
          </p:cNvPr>
          <p:cNvGrpSpPr/>
          <p:nvPr/>
        </p:nvGrpSpPr>
        <p:grpSpPr>
          <a:xfrm>
            <a:off x="7815265" y="1473567"/>
            <a:ext cx="1703064" cy="1703064"/>
            <a:chOff x="7815265" y="1473567"/>
            <a:chExt cx="1703064" cy="1703064"/>
          </a:xfrm>
        </p:grpSpPr>
        <p:sp>
          <p:nvSpPr>
            <p:cNvPr id="60" name="Oval 59">
              <a:extLst>
                <a:ext uri="{FF2B5EF4-FFF2-40B4-BE49-F238E27FC236}">
                  <a16:creationId xmlns:a16="http://schemas.microsoft.com/office/drawing/2014/main" id="{5EEA053D-6411-482F-B134-975695F21527}"/>
                </a:ext>
              </a:extLst>
            </p:cNvPr>
            <p:cNvSpPr/>
            <p:nvPr/>
          </p:nvSpPr>
          <p:spPr>
            <a:xfrm>
              <a:off x="7815265" y="1473567"/>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704"/>
              <a:endParaRPr lang="en-US" sz="1462">
                <a:solidFill>
                  <a:schemeClr val="tx1"/>
                </a:solidFill>
                <a:latin typeface="EYInterstate Light" panose="02000506000000020004" pitchFamily="2" charset="0"/>
                <a:sym typeface="EYInterstate Light" panose="02000506000000020004" pitchFamily="2" charset="0"/>
              </a:endParaRPr>
            </a:p>
          </p:txBody>
        </p:sp>
        <p:grpSp>
          <p:nvGrpSpPr>
            <p:cNvPr id="77" name="Group 76">
              <a:extLst>
                <a:ext uri="{FF2B5EF4-FFF2-40B4-BE49-F238E27FC236}">
                  <a16:creationId xmlns:a16="http://schemas.microsoft.com/office/drawing/2014/main" id="{623C3D76-3223-4681-83F8-4D4FCFE48DBD}"/>
                </a:ext>
              </a:extLst>
            </p:cNvPr>
            <p:cNvGrpSpPr>
              <a:grpSpLocks noChangeAspect="1"/>
            </p:cNvGrpSpPr>
            <p:nvPr/>
          </p:nvGrpSpPr>
          <p:grpSpPr>
            <a:xfrm>
              <a:off x="8200087" y="1965099"/>
              <a:ext cx="933419" cy="720000"/>
              <a:chOff x="727075" y="4886325"/>
              <a:chExt cx="1263650" cy="974725"/>
            </a:xfrm>
            <a:solidFill>
              <a:schemeClr val="bg1"/>
            </a:solidFill>
          </p:grpSpPr>
          <p:sp>
            <p:nvSpPr>
              <p:cNvPr id="78" name="Freeform 152">
                <a:extLst>
                  <a:ext uri="{FF2B5EF4-FFF2-40B4-BE49-F238E27FC236}">
                    <a16:creationId xmlns:a16="http://schemas.microsoft.com/office/drawing/2014/main" id="{60177C5A-8FA2-42A0-BE00-0802E51C9A24}"/>
                  </a:ext>
                </a:extLst>
              </p:cNvPr>
              <p:cNvSpPr>
                <a:spLocks/>
              </p:cNvSpPr>
              <p:nvPr/>
            </p:nvSpPr>
            <p:spPr bwMode="auto">
              <a:xfrm>
                <a:off x="1330325" y="4886325"/>
                <a:ext cx="660400" cy="974725"/>
              </a:xfrm>
              <a:custGeom>
                <a:avLst/>
                <a:gdLst>
                  <a:gd name="T0" fmla="*/ 30 w 416"/>
                  <a:gd name="T1" fmla="*/ 542 h 614"/>
                  <a:gd name="T2" fmla="*/ 88 w 416"/>
                  <a:gd name="T3" fmla="*/ 474 h 614"/>
                  <a:gd name="T4" fmla="*/ 70 w 416"/>
                  <a:gd name="T5" fmla="*/ 394 h 614"/>
                  <a:gd name="T6" fmla="*/ 34 w 416"/>
                  <a:gd name="T7" fmla="*/ 290 h 614"/>
                  <a:gd name="T8" fmla="*/ 8 w 416"/>
                  <a:gd name="T9" fmla="*/ 228 h 614"/>
                  <a:gd name="T10" fmla="*/ 0 w 416"/>
                  <a:gd name="T11" fmla="*/ 170 h 614"/>
                  <a:gd name="T12" fmla="*/ 14 w 416"/>
                  <a:gd name="T13" fmla="*/ 114 h 614"/>
                  <a:gd name="T14" fmla="*/ 32 w 416"/>
                  <a:gd name="T15" fmla="*/ 86 h 614"/>
                  <a:gd name="T16" fmla="*/ 88 w 416"/>
                  <a:gd name="T17" fmla="*/ 36 h 614"/>
                  <a:gd name="T18" fmla="*/ 166 w 416"/>
                  <a:gd name="T19" fmla="*/ 6 h 614"/>
                  <a:gd name="T20" fmla="*/ 226 w 416"/>
                  <a:gd name="T21" fmla="*/ 0 h 614"/>
                  <a:gd name="T22" fmla="*/ 268 w 416"/>
                  <a:gd name="T23" fmla="*/ 60 h 614"/>
                  <a:gd name="T24" fmla="*/ 310 w 416"/>
                  <a:gd name="T25" fmla="*/ 78 h 614"/>
                  <a:gd name="T26" fmla="*/ 408 w 416"/>
                  <a:gd name="T27" fmla="*/ 166 h 614"/>
                  <a:gd name="T28" fmla="*/ 278 w 416"/>
                  <a:gd name="T29" fmla="*/ 192 h 614"/>
                  <a:gd name="T30" fmla="*/ 254 w 416"/>
                  <a:gd name="T31" fmla="*/ 200 h 614"/>
                  <a:gd name="T32" fmla="*/ 208 w 416"/>
                  <a:gd name="T33" fmla="*/ 202 h 614"/>
                  <a:gd name="T34" fmla="*/ 164 w 416"/>
                  <a:gd name="T35" fmla="*/ 174 h 614"/>
                  <a:gd name="T36" fmla="*/ 178 w 416"/>
                  <a:gd name="T37" fmla="*/ 162 h 614"/>
                  <a:gd name="T38" fmla="*/ 192 w 416"/>
                  <a:gd name="T39" fmla="*/ 176 h 614"/>
                  <a:gd name="T40" fmla="*/ 224 w 416"/>
                  <a:gd name="T41" fmla="*/ 186 h 614"/>
                  <a:gd name="T42" fmla="*/ 262 w 416"/>
                  <a:gd name="T43" fmla="*/ 180 h 614"/>
                  <a:gd name="T44" fmla="*/ 352 w 416"/>
                  <a:gd name="T45" fmla="*/ 200 h 614"/>
                  <a:gd name="T46" fmla="*/ 342 w 416"/>
                  <a:gd name="T47" fmla="*/ 130 h 614"/>
                  <a:gd name="T48" fmla="*/ 292 w 416"/>
                  <a:gd name="T49" fmla="*/ 88 h 614"/>
                  <a:gd name="T50" fmla="*/ 216 w 416"/>
                  <a:gd name="T51" fmla="*/ 64 h 614"/>
                  <a:gd name="T52" fmla="*/ 208 w 416"/>
                  <a:gd name="T53" fmla="*/ 18 h 614"/>
                  <a:gd name="T54" fmla="*/ 138 w 416"/>
                  <a:gd name="T55" fmla="*/ 32 h 614"/>
                  <a:gd name="T56" fmla="*/ 72 w 416"/>
                  <a:gd name="T57" fmla="*/ 70 h 614"/>
                  <a:gd name="T58" fmla="*/ 40 w 416"/>
                  <a:gd name="T59" fmla="*/ 108 h 614"/>
                  <a:gd name="T60" fmla="*/ 20 w 416"/>
                  <a:gd name="T61" fmla="*/ 154 h 614"/>
                  <a:gd name="T62" fmla="*/ 22 w 416"/>
                  <a:gd name="T63" fmla="*/ 206 h 614"/>
                  <a:gd name="T64" fmla="*/ 34 w 416"/>
                  <a:gd name="T65" fmla="*/ 242 h 614"/>
                  <a:gd name="T66" fmla="*/ 84 w 416"/>
                  <a:gd name="T67" fmla="*/ 380 h 614"/>
                  <a:gd name="T68" fmla="*/ 106 w 416"/>
                  <a:gd name="T69" fmla="*/ 482 h 614"/>
                  <a:gd name="T70" fmla="*/ 82 w 416"/>
                  <a:gd name="T71" fmla="*/ 560 h 614"/>
                  <a:gd name="T72" fmla="*/ 396 w 416"/>
                  <a:gd name="T73" fmla="*/ 596 h 614"/>
                  <a:gd name="T74" fmla="*/ 360 w 416"/>
                  <a:gd name="T75" fmla="*/ 492 h 614"/>
                  <a:gd name="T76" fmla="*/ 340 w 416"/>
                  <a:gd name="T77" fmla="*/ 482 h 614"/>
                  <a:gd name="T78" fmla="*/ 334 w 416"/>
                  <a:gd name="T79" fmla="*/ 422 h 614"/>
                  <a:gd name="T80" fmla="*/ 320 w 416"/>
                  <a:gd name="T81" fmla="*/ 378 h 614"/>
                  <a:gd name="T82" fmla="*/ 276 w 416"/>
                  <a:gd name="T83" fmla="*/ 320 h 614"/>
                  <a:gd name="T84" fmla="*/ 246 w 416"/>
                  <a:gd name="T85" fmla="*/ 296 h 614"/>
                  <a:gd name="T86" fmla="*/ 224 w 416"/>
                  <a:gd name="T87" fmla="*/ 278 h 614"/>
                  <a:gd name="T88" fmla="*/ 184 w 416"/>
                  <a:gd name="T89" fmla="*/ 232 h 614"/>
                  <a:gd name="T90" fmla="*/ 192 w 416"/>
                  <a:gd name="T91" fmla="*/ 208 h 614"/>
                  <a:gd name="T92" fmla="*/ 210 w 416"/>
                  <a:gd name="T93" fmla="*/ 236 h 614"/>
                  <a:gd name="T94" fmla="*/ 246 w 416"/>
                  <a:gd name="T95" fmla="*/ 274 h 614"/>
                  <a:gd name="T96" fmla="*/ 258 w 416"/>
                  <a:gd name="T97" fmla="*/ 282 h 614"/>
                  <a:gd name="T98" fmla="*/ 304 w 416"/>
                  <a:gd name="T99" fmla="*/ 320 h 614"/>
                  <a:gd name="T100" fmla="*/ 340 w 416"/>
                  <a:gd name="T101" fmla="*/ 380 h 614"/>
                  <a:gd name="T102" fmla="*/ 354 w 416"/>
                  <a:gd name="T103" fmla="*/ 432 h 614"/>
                  <a:gd name="T104" fmla="*/ 378 w 416"/>
                  <a:gd name="T105" fmla="*/ 474 h 614"/>
                  <a:gd name="T106" fmla="*/ 414 w 416"/>
                  <a:gd name="T107"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6" h="614">
                    <a:moveTo>
                      <a:pt x="414" y="614"/>
                    </a:moveTo>
                    <a:lnTo>
                      <a:pt x="30" y="614"/>
                    </a:lnTo>
                    <a:lnTo>
                      <a:pt x="30" y="542"/>
                    </a:lnTo>
                    <a:lnTo>
                      <a:pt x="64" y="542"/>
                    </a:lnTo>
                    <a:lnTo>
                      <a:pt x="64" y="474"/>
                    </a:lnTo>
                    <a:lnTo>
                      <a:pt x="88" y="474"/>
                    </a:lnTo>
                    <a:lnTo>
                      <a:pt x="88" y="474"/>
                    </a:lnTo>
                    <a:lnTo>
                      <a:pt x="82" y="444"/>
                    </a:lnTo>
                    <a:lnTo>
                      <a:pt x="70" y="394"/>
                    </a:lnTo>
                    <a:lnTo>
                      <a:pt x="60" y="364"/>
                    </a:lnTo>
                    <a:lnTo>
                      <a:pt x="48" y="328"/>
                    </a:lnTo>
                    <a:lnTo>
                      <a:pt x="34" y="290"/>
                    </a:lnTo>
                    <a:lnTo>
                      <a:pt x="16" y="248"/>
                    </a:lnTo>
                    <a:lnTo>
                      <a:pt x="16" y="248"/>
                    </a:lnTo>
                    <a:lnTo>
                      <a:pt x="8" y="228"/>
                    </a:lnTo>
                    <a:lnTo>
                      <a:pt x="4" y="208"/>
                    </a:lnTo>
                    <a:lnTo>
                      <a:pt x="0" y="188"/>
                    </a:lnTo>
                    <a:lnTo>
                      <a:pt x="0" y="170"/>
                    </a:lnTo>
                    <a:lnTo>
                      <a:pt x="2" y="150"/>
                    </a:lnTo>
                    <a:lnTo>
                      <a:pt x="8" y="132"/>
                    </a:lnTo>
                    <a:lnTo>
                      <a:pt x="14" y="114"/>
                    </a:lnTo>
                    <a:lnTo>
                      <a:pt x="24" y="98"/>
                    </a:lnTo>
                    <a:lnTo>
                      <a:pt x="24" y="98"/>
                    </a:lnTo>
                    <a:lnTo>
                      <a:pt x="32" y="86"/>
                    </a:lnTo>
                    <a:lnTo>
                      <a:pt x="42" y="74"/>
                    </a:lnTo>
                    <a:lnTo>
                      <a:pt x="64" y="54"/>
                    </a:lnTo>
                    <a:lnTo>
                      <a:pt x="88" y="36"/>
                    </a:lnTo>
                    <a:lnTo>
                      <a:pt x="114" y="24"/>
                    </a:lnTo>
                    <a:lnTo>
                      <a:pt x="140" y="12"/>
                    </a:lnTo>
                    <a:lnTo>
                      <a:pt x="166" y="6"/>
                    </a:lnTo>
                    <a:lnTo>
                      <a:pt x="192" y="0"/>
                    </a:lnTo>
                    <a:lnTo>
                      <a:pt x="218" y="0"/>
                    </a:lnTo>
                    <a:lnTo>
                      <a:pt x="226" y="0"/>
                    </a:lnTo>
                    <a:lnTo>
                      <a:pt x="226" y="48"/>
                    </a:lnTo>
                    <a:lnTo>
                      <a:pt x="226" y="48"/>
                    </a:lnTo>
                    <a:lnTo>
                      <a:pt x="268" y="60"/>
                    </a:lnTo>
                    <a:lnTo>
                      <a:pt x="292" y="68"/>
                    </a:lnTo>
                    <a:lnTo>
                      <a:pt x="302" y="72"/>
                    </a:lnTo>
                    <a:lnTo>
                      <a:pt x="310" y="78"/>
                    </a:lnTo>
                    <a:lnTo>
                      <a:pt x="310" y="78"/>
                    </a:lnTo>
                    <a:lnTo>
                      <a:pt x="364" y="126"/>
                    </a:lnTo>
                    <a:lnTo>
                      <a:pt x="408" y="166"/>
                    </a:lnTo>
                    <a:lnTo>
                      <a:pt x="416" y="172"/>
                    </a:lnTo>
                    <a:lnTo>
                      <a:pt x="356" y="220"/>
                    </a:lnTo>
                    <a:lnTo>
                      <a:pt x="278" y="192"/>
                    </a:lnTo>
                    <a:lnTo>
                      <a:pt x="278" y="192"/>
                    </a:lnTo>
                    <a:lnTo>
                      <a:pt x="266" y="198"/>
                    </a:lnTo>
                    <a:lnTo>
                      <a:pt x="254" y="200"/>
                    </a:lnTo>
                    <a:lnTo>
                      <a:pt x="240" y="204"/>
                    </a:lnTo>
                    <a:lnTo>
                      <a:pt x="224" y="204"/>
                    </a:lnTo>
                    <a:lnTo>
                      <a:pt x="208" y="202"/>
                    </a:lnTo>
                    <a:lnTo>
                      <a:pt x="192" y="196"/>
                    </a:lnTo>
                    <a:lnTo>
                      <a:pt x="178" y="188"/>
                    </a:lnTo>
                    <a:lnTo>
                      <a:pt x="164" y="174"/>
                    </a:lnTo>
                    <a:lnTo>
                      <a:pt x="158" y="166"/>
                    </a:lnTo>
                    <a:lnTo>
                      <a:pt x="172" y="156"/>
                    </a:lnTo>
                    <a:lnTo>
                      <a:pt x="178" y="162"/>
                    </a:lnTo>
                    <a:lnTo>
                      <a:pt x="178" y="162"/>
                    </a:lnTo>
                    <a:lnTo>
                      <a:pt x="184" y="170"/>
                    </a:lnTo>
                    <a:lnTo>
                      <a:pt x="192" y="176"/>
                    </a:lnTo>
                    <a:lnTo>
                      <a:pt x="200" y="180"/>
                    </a:lnTo>
                    <a:lnTo>
                      <a:pt x="208" y="182"/>
                    </a:lnTo>
                    <a:lnTo>
                      <a:pt x="224" y="186"/>
                    </a:lnTo>
                    <a:lnTo>
                      <a:pt x="238" y="184"/>
                    </a:lnTo>
                    <a:lnTo>
                      <a:pt x="252" y="182"/>
                    </a:lnTo>
                    <a:lnTo>
                      <a:pt x="262" y="180"/>
                    </a:lnTo>
                    <a:lnTo>
                      <a:pt x="272" y="174"/>
                    </a:lnTo>
                    <a:lnTo>
                      <a:pt x="276" y="172"/>
                    </a:lnTo>
                    <a:lnTo>
                      <a:pt x="352" y="200"/>
                    </a:lnTo>
                    <a:lnTo>
                      <a:pt x="388" y="172"/>
                    </a:lnTo>
                    <a:lnTo>
                      <a:pt x="388" y="172"/>
                    </a:lnTo>
                    <a:lnTo>
                      <a:pt x="342" y="130"/>
                    </a:lnTo>
                    <a:lnTo>
                      <a:pt x="298" y="92"/>
                    </a:lnTo>
                    <a:lnTo>
                      <a:pt x="298" y="92"/>
                    </a:lnTo>
                    <a:lnTo>
                      <a:pt x="292" y="88"/>
                    </a:lnTo>
                    <a:lnTo>
                      <a:pt x="282" y="84"/>
                    </a:lnTo>
                    <a:lnTo>
                      <a:pt x="258" y="76"/>
                    </a:lnTo>
                    <a:lnTo>
                      <a:pt x="216" y="64"/>
                    </a:lnTo>
                    <a:lnTo>
                      <a:pt x="208" y="64"/>
                    </a:lnTo>
                    <a:lnTo>
                      <a:pt x="208" y="18"/>
                    </a:lnTo>
                    <a:lnTo>
                      <a:pt x="208" y="18"/>
                    </a:lnTo>
                    <a:lnTo>
                      <a:pt x="186" y="20"/>
                    </a:lnTo>
                    <a:lnTo>
                      <a:pt x="162" y="26"/>
                    </a:lnTo>
                    <a:lnTo>
                      <a:pt x="138" y="32"/>
                    </a:lnTo>
                    <a:lnTo>
                      <a:pt x="116" y="42"/>
                    </a:lnTo>
                    <a:lnTo>
                      <a:pt x="94" y="56"/>
                    </a:lnTo>
                    <a:lnTo>
                      <a:pt x="72" y="70"/>
                    </a:lnTo>
                    <a:lnTo>
                      <a:pt x="54" y="88"/>
                    </a:lnTo>
                    <a:lnTo>
                      <a:pt x="40" y="108"/>
                    </a:lnTo>
                    <a:lnTo>
                      <a:pt x="40" y="108"/>
                    </a:lnTo>
                    <a:lnTo>
                      <a:pt x="30" y="122"/>
                    </a:lnTo>
                    <a:lnTo>
                      <a:pt x="24" y="138"/>
                    </a:lnTo>
                    <a:lnTo>
                      <a:pt x="20" y="154"/>
                    </a:lnTo>
                    <a:lnTo>
                      <a:pt x="18" y="170"/>
                    </a:lnTo>
                    <a:lnTo>
                      <a:pt x="18" y="188"/>
                    </a:lnTo>
                    <a:lnTo>
                      <a:pt x="22" y="206"/>
                    </a:lnTo>
                    <a:lnTo>
                      <a:pt x="26" y="224"/>
                    </a:lnTo>
                    <a:lnTo>
                      <a:pt x="34" y="242"/>
                    </a:lnTo>
                    <a:lnTo>
                      <a:pt x="34" y="242"/>
                    </a:lnTo>
                    <a:lnTo>
                      <a:pt x="54" y="294"/>
                    </a:lnTo>
                    <a:lnTo>
                      <a:pt x="72" y="340"/>
                    </a:lnTo>
                    <a:lnTo>
                      <a:pt x="84" y="380"/>
                    </a:lnTo>
                    <a:lnTo>
                      <a:pt x="94" y="414"/>
                    </a:lnTo>
                    <a:lnTo>
                      <a:pt x="104" y="464"/>
                    </a:lnTo>
                    <a:lnTo>
                      <a:pt x="106" y="482"/>
                    </a:lnTo>
                    <a:lnTo>
                      <a:pt x="108" y="492"/>
                    </a:lnTo>
                    <a:lnTo>
                      <a:pt x="82" y="492"/>
                    </a:lnTo>
                    <a:lnTo>
                      <a:pt x="82" y="560"/>
                    </a:lnTo>
                    <a:lnTo>
                      <a:pt x="48" y="560"/>
                    </a:lnTo>
                    <a:lnTo>
                      <a:pt x="48" y="596"/>
                    </a:lnTo>
                    <a:lnTo>
                      <a:pt x="396" y="596"/>
                    </a:lnTo>
                    <a:lnTo>
                      <a:pt x="396" y="560"/>
                    </a:lnTo>
                    <a:lnTo>
                      <a:pt x="360" y="560"/>
                    </a:lnTo>
                    <a:lnTo>
                      <a:pt x="360" y="492"/>
                    </a:lnTo>
                    <a:lnTo>
                      <a:pt x="340" y="492"/>
                    </a:lnTo>
                    <a:lnTo>
                      <a:pt x="340" y="482"/>
                    </a:lnTo>
                    <a:lnTo>
                      <a:pt x="340" y="482"/>
                    </a:lnTo>
                    <a:lnTo>
                      <a:pt x="340" y="462"/>
                    </a:lnTo>
                    <a:lnTo>
                      <a:pt x="338" y="442"/>
                    </a:lnTo>
                    <a:lnTo>
                      <a:pt x="334" y="422"/>
                    </a:lnTo>
                    <a:lnTo>
                      <a:pt x="330" y="406"/>
                    </a:lnTo>
                    <a:lnTo>
                      <a:pt x="326" y="392"/>
                    </a:lnTo>
                    <a:lnTo>
                      <a:pt x="320" y="378"/>
                    </a:lnTo>
                    <a:lnTo>
                      <a:pt x="306" y="354"/>
                    </a:lnTo>
                    <a:lnTo>
                      <a:pt x="292" y="334"/>
                    </a:lnTo>
                    <a:lnTo>
                      <a:pt x="276" y="320"/>
                    </a:lnTo>
                    <a:lnTo>
                      <a:pt x="260" y="306"/>
                    </a:lnTo>
                    <a:lnTo>
                      <a:pt x="246" y="296"/>
                    </a:lnTo>
                    <a:lnTo>
                      <a:pt x="246" y="296"/>
                    </a:lnTo>
                    <a:lnTo>
                      <a:pt x="234" y="288"/>
                    </a:lnTo>
                    <a:lnTo>
                      <a:pt x="234" y="288"/>
                    </a:lnTo>
                    <a:lnTo>
                      <a:pt x="224" y="278"/>
                    </a:lnTo>
                    <a:lnTo>
                      <a:pt x="212" y="268"/>
                    </a:lnTo>
                    <a:lnTo>
                      <a:pt x="196" y="248"/>
                    </a:lnTo>
                    <a:lnTo>
                      <a:pt x="184" y="232"/>
                    </a:lnTo>
                    <a:lnTo>
                      <a:pt x="180" y="224"/>
                    </a:lnTo>
                    <a:lnTo>
                      <a:pt x="176" y="216"/>
                    </a:lnTo>
                    <a:lnTo>
                      <a:pt x="192" y="208"/>
                    </a:lnTo>
                    <a:lnTo>
                      <a:pt x="196" y="216"/>
                    </a:lnTo>
                    <a:lnTo>
                      <a:pt x="196" y="216"/>
                    </a:lnTo>
                    <a:lnTo>
                      <a:pt x="210" y="236"/>
                    </a:lnTo>
                    <a:lnTo>
                      <a:pt x="226" y="256"/>
                    </a:lnTo>
                    <a:lnTo>
                      <a:pt x="236" y="264"/>
                    </a:lnTo>
                    <a:lnTo>
                      <a:pt x="246" y="274"/>
                    </a:lnTo>
                    <a:lnTo>
                      <a:pt x="246" y="274"/>
                    </a:lnTo>
                    <a:lnTo>
                      <a:pt x="258" y="282"/>
                    </a:lnTo>
                    <a:lnTo>
                      <a:pt x="258" y="282"/>
                    </a:lnTo>
                    <a:lnTo>
                      <a:pt x="272" y="292"/>
                    </a:lnTo>
                    <a:lnTo>
                      <a:pt x="288" y="304"/>
                    </a:lnTo>
                    <a:lnTo>
                      <a:pt x="304" y="320"/>
                    </a:lnTo>
                    <a:lnTo>
                      <a:pt x="320" y="340"/>
                    </a:lnTo>
                    <a:lnTo>
                      <a:pt x="334" y="366"/>
                    </a:lnTo>
                    <a:lnTo>
                      <a:pt x="340" y="380"/>
                    </a:lnTo>
                    <a:lnTo>
                      <a:pt x="346" y="396"/>
                    </a:lnTo>
                    <a:lnTo>
                      <a:pt x="350" y="412"/>
                    </a:lnTo>
                    <a:lnTo>
                      <a:pt x="354" y="432"/>
                    </a:lnTo>
                    <a:lnTo>
                      <a:pt x="356" y="452"/>
                    </a:lnTo>
                    <a:lnTo>
                      <a:pt x="358" y="474"/>
                    </a:lnTo>
                    <a:lnTo>
                      <a:pt x="378" y="474"/>
                    </a:lnTo>
                    <a:lnTo>
                      <a:pt x="378" y="542"/>
                    </a:lnTo>
                    <a:lnTo>
                      <a:pt x="414" y="542"/>
                    </a:lnTo>
                    <a:lnTo>
                      <a:pt x="414"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53">
                <a:extLst>
                  <a:ext uri="{FF2B5EF4-FFF2-40B4-BE49-F238E27FC236}">
                    <a16:creationId xmlns:a16="http://schemas.microsoft.com/office/drawing/2014/main" id="{F6DB1CCC-DDA8-4A28-BFDE-849AFC4890AA}"/>
                  </a:ext>
                </a:extLst>
              </p:cNvPr>
              <p:cNvSpPr>
                <a:spLocks noChangeArrowheads="1"/>
              </p:cNvSpPr>
              <p:nvPr/>
            </p:nvSpPr>
            <p:spPr bwMode="auto">
              <a:xfrm>
                <a:off x="1660525" y="5051425"/>
                <a:ext cx="508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54">
                <a:extLst>
                  <a:ext uri="{FF2B5EF4-FFF2-40B4-BE49-F238E27FC236}">
                    <a16:creationId xmlns:a16="http://schemas.microsoft.com/office/drawing/2014/main" id="{B8A87E4E-4CBD-4DA3-9417-1BCBE7F7A667}"/>
                  </a:ext>
                </a:extLst>
              </p:cNvPr>
              <p:cNvSpPr>
                <a:spLocks noChangeArrowheads="1"/>
              </p:cNvSpPr>
              <p:nvPr/>
            </p:nvSpPr>
            <p:spPr bwMode="auto">
              <a:xfrm>
                <a:off x="1562100" y="5638800"/>
                <a:ext cx="247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55">
                <a:extLst>
                  <a:ext uri="{FF2B5EF4-FFF2-40B4-BE49-F238E27FC236}">
                    <a16:creationId xmlns:a16="http://schemas.microsoft.com/office/drawing/2014/main" id="{12197288-C974-421C-8A52-0B4DF4D9D20F}"/>
                  </a:ext>
                </a:extLst>
              </p:cNvPr>
              <p:cNvSpPr>
                <a:spLocks noChangeArrowheads="1"/>
              </p:cNvSpPr>
              <p:nvPr/>
            </p:nvSpPr>
            <p:spPr bwMode="auto">
              <a:xfrm>
                <a:off x="1562100" y="5746750"/>
                <a:ext cx="247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56">
                <a:extLst>
                  <a:ext uri="{FF2B5EF4-FFF2-40B4-BE49-F238E27FC236}">
                    <a16:creationId xmlns:a16="http://schemas.microsoft.com/office/drawing/2014/main" id="{9BD6DF8B-0557-49E9-BCA8-A058FAEF6C00}"/>
                  </a:ext>
                </a:extLst>
              </p:cNvPr>
              <p:cNvSpPr>
                <a:spLocks/>
              </p:cNvSpPr>
              <p:nvPr/>
            </p:nvSpPr>
            <p:spPr bwMode="auto">
              <a:xfrm>
                <a:off x="727075" y="4927600"/>
                <a:ext cx="657225" cy="933450"/>
              </a:xfrm>
              <a:custGeom>
                <a:avLst/>
                <a:gdLst>
                  <a:gd name="T0" fmla="*/ 294 w 414"/>
                  <a:gd name="T1" fmla="*/ 588 h 588"/>
                  <a:gd name="T2" fmla="*/ 234 w 414"/>
                  <a:gd name="T3" fmla="*/ 582 h 588"/>
                  <a:gd name="T4" fmla="*/ 180 w 414"/>
                  <a:gd name="T5" fmla="*/ 564 h 588"/>
                  <a:gd name="T6" fmla="*/ 130 w 414"/>
                  <a:gd name="T7" fmla="*/ 538 h 588"/>
                  <a:gd name="T8" fmla="*/ 86 w 414"/>
                  <a:gd name="T9" fmla="*/ 502 h 588"/>
                  <a:gd name="T10" fmla="*/ 50 w 414"/>
                  <a:gd name="T11" fmla="*/ 458 h 588"/>
                  <a:gd name="T12" fmla="*/ 24 w 414"/>
                  <a:gd name="T13" fmla="*/ 408 h 588"/>
                  <a:gd name="T14" fmla="*/ 6 w 414"/>
                  <a:gd name="T15" fmla="*/ 354 h 588"/>
                  <a:gd name="T16" fmla="*/ 0 w 414"/>
                  <a:gd name="T17" fmla="*/ 294 h 588"/>
                  <a:gd name="T18" fmla="*/ 2 w 414"/>
                  <a:gd name="T19" fmla="*/ 264 h 588"/>
                  <a:gd name="T20" fmla="*/ 14 w 414"/>
                  <a:gd name="T21" fmla="*/ 208 h 588"/>
                  <a:gd name="T22" fmla="*/ 36 w 414"/>
                  <a:gd name="T23" fmla="*/ 154 h 588"/>
                  <a:gd name="T24" fmla="*/ 68 w 414"/>
                  <a:gd name="T25" fmla="*/ 108 h 588"/>
                  <a:gd name="T26" fmla="*/ 108 w 414"/>
                  <a:gd name="T27" fmla="*/ 68 h 588"/>
                  <a:gd name="T28" fmla="*/ 154 w 414"/>
                  <a:gd name="T29" fmla="*/ 36 h 588"/>
                  <a:gd name="T30" fmla="*/ 206 w 414"/>
                  <a:gd name="T31" fmla="*/ 14 h 588"/>
                  <a:gd name="T32" fmla="*/ 264 w 414"/>
                  <a:gd name="T33" fmla="*/ 2 h 588"/>
                  <a:gd name="T34" fmla="*/ 294 w 414"/>
                  <a:gd name="T35" fmla="*/ 0 h 588"/>
                  <a:gd name="T36" fmla="*/ 350 w 414"/>
                  <a:gd name="T37" fmla="*/ 6 h 588"/>
                  <a:gd name="T38" fmla="*/ 406 w 414"/>
                  <a:gd name="T39" fmla="*/ 22 h 588"/>
                  <a:gd name="T40" fmla="*/ 406 w 414"/>
                  <a:gd name="T41" fmla="*/ 44 h 588"/>
                  <a:gd name="T42" fmla="*/ 398 w 414"/>
                  <a:gd name="T43" fmla="*/ 40 h 588"/>
                  <a:gd name="T44" fmla="*/ 348 w 414"/>
                  <a:gd name="T45" fmla="*/ 24 h 588"/>
                  <a:gd name="T46" fmla="*/ 294 w 414"/>
                  <a:gd name="T47" fmla="*/ 18 h 588"/>
                  <a:gd name="T48" fmla="*/ 266 w 414"/>
                  <a:gd name="T49" fmla="*/ 20 h 588"/>
                  <a:gd name="T50" fmla="*/ 212 w 414"/>
                  <a:gd name="T51" fmla="*/ 32 h 588"/>
                  <a:gd name="T52" fmla="*/ 162 w 414"/>
                  <a:gd name="T53" fmla="*/ 52 h 588"/>
                  <a:gd name="T54" fmla="*/ 118 w 414"/>
                  <a:gd name="T55" fmla="*/ 82 h 588"/>
                  <a:gd name="T56" fmla="*/ 82 w 414"/>
                  <a:gd name="T57" fmla="*/ 120 h 588"/>
                  <a:gd name="T58" fmla="*/ 52 w 414"/>
                  <a:gd name="T59" fmla="*/ 164 h 588"/>
                  <a:gd name="T60" fmla="*/ 30 w 414"/>
                  <a:gd name="T61" fmla="*/ 212 h 588"/>
                  <a:gd name="T62" fmla="*/ 20 w 414"/>
                  <a:gd name="T63" fmla="*/ 266 h 588"/>
                  <a:gd name="T64" fmla="*/ 18 w 414"/>
                  <a:gd name="T65" fmla="*/ 294 h 588"/>
                  <a:gd name="T66" fmla="*/ 24 w 414"/>
                  <a:gd name="T67" fmla="*/ 350 h 588"/>
                  <a:gd name="T68" fmla="*/ 40 w 414"/>
                  <a:gd name="T69" fmla="*/ 402 h 588"/>
                  <a:gd name="T70" fmla="*/ 66 w 414"/>
                  <a:gd name="T71" fmla="*/ 448 h 588"/>
                  <a:gd name="T72" fmla="*/ 98 w 414"/>
                  <a:gd name="T73" fmla="*/ 488 h 588"/>
                  <a:gd name="T74" fmla="*/ 140 w 414"/>
                  <a:gd name="T75" fmla="*/ 522 h 588"/>
                  <a:gd name="T76" fmla="*/ 186 w 414"/>
                  <a:gd name="T77" fmla="*/ 548 h 588"/>
                  <a:gd name="T78" fmla="*/ 238 w 414"/>
                  <a:gd name="T79" fmla="*/ 564 h 588"/>
                  <a:gd name="T80" fmla="*/ 294 w 414"/>
                  <a:gd name="T81" fmla="*/ 570 h 588"/>
                  <a:gd name="T82" fmla="*/ 316 w 414"/>
                  <a:gd name="T83" fmla="*/ 568 h 588"/>
                  <a:gd name="T84" fmla="*/ 362 w 414"/>
                  <a:gd name="T85" fmla="*/ 560 h 588"/>
                  <a:gd name="T86" fmla="*/ 394 w 414"/>
                  <a:gd name="T87" fmla="*/ 550 h 588"/>
                  <a:gd name="T88" fmla="*/ 392 w 414"/>
                  <a:gd name="T89" fmla="*/ 570 h 588"/>
                  <a:gd name="T90" fmla="*/ 368 w 414"/>
                  <a:gd name="T91" fmla="*/ 578 h 588"/>
                  <a:gd name="T92" fmla="*/ 318 w 414"/>
                  <a:gd name="T93" fmla="*/ 586 h 588"/>
                  <a:gd name="T94" fmla="*/ 294 w 414"/>
                  <a:gd name="T95"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4" h="588">
                    <a:moveTo>
                      <a:pt x="294" y="588"/>
                    </a:moveTo>
                    <a:lnTo>
                      <a:pt x="294" y="588"/>
                    </a:lnTo>
                    <a:lnTo>
                      <a:pt x="264" y="586"/>
                    </a:lnTo>
                    <a:lnTo>
                      <a:pt x="234" y="582"/>
                    </a:lnTo>
                    <a:lnTo>
                      <a:pt x="206" y="574"/>
                    </a:lnTo>
                    <a:lnTo>
                      <a:pt x="180" y="564"/>
                    </a:lnTo>
                    <a:lnTo>
                      <a:pt x="154" y="552"/>
                    </a:lnTo>
                    <a:lnTo>
                      <a:pt x="130" y="538"/>
                    </a:lnTo>
                    <a:lnTo>
                      <a:pt x="108" y="520"/>
                    </a:lnTo>
                    <a:lnTo>
                      <a:pt x="86" y="502"/>
                    </a:lnTo>
                    <a:lnTo>
                      <a:pt x="68" y="480"/>
                    </a:lnTo>
                    <a:lnTo>
                      <a:pt x="50" y="458"/>
                    </a:lnTo>
                    <a:lnTo>
                      <a:pt x="36" y="434"/>
                    </a:lnTo>
                    <a:lnTo>
                      <a:pt x="24" y="408"/>
                    </a:lnTo>
                    <a:lnTo>
                      <a:pt x="14" y="382"/>
                    </a:lnTo>
                    <a:lnTo>
                      <a:pt x="6" y="354"/>
                    </a:lnTo>
                    <a:lnTo>
                      <a:pt x="2" y="324"/>
                    </a:lnTo>
                    <a:lnTo>
                      <a:pt x="0" y="294"/>
                    </a:lnTo>
                    <a:lnTo>
                      <a:pt x="0" y="294"/>
                    </a:lnTo>
                    <a:lnTo>
                      <a:pt x="2" y="264"/>
                    </a:lnTo>
                    <a:lnTo>
                      <a:pt x="6" y="236"/>
                    </a:lnTo>
                    <a:lnTo>
                      <a:pt x="14" y="208"/>
                    </a:lnTo>
                    <a:lnTo>
                      <a:pt x="24" y="180"/>
                    </a:lnTo>
                    <a:lnTo>
                      <a:pt x="36" y="154"/>
                    </a:lnTo>
                    <a:lnTo>
                      <a:pt x="50" y="130"/>
                    </a:lnTo>
                    <a:lnTo>
                      <a:pt x="68" y="108"/>
                    </a:lnTo>
                    <a:lnTo>
                      <a:pt x="86" y="86"/>
                    </a:lnTo>
                    <a:lnTo>
                      <a:pt x="108" y="68"/>
                    </a:lnTo>
                    <a:lnTo>
                      <a:pt x="130" y="52"/>
                    </a:lnTo>
                    <a:lnTo>
                      <a:pt x="154" y="36"/>
                    </a:lnTo>
                    <a:lnTo>
                      <a:pt x="180" y="24"/>
                    </a:lnTo>
                    <a:lnTo>
                      <a:pt x="206" y="14"/>
                    </a:lnTo>
                    <a:lnTo>
                      <a:pt x="234" y="6"/>
                    </a:lnTo>
                    <a:lnTo>
                      <a:pt x="264" y="2"/>
                    </a:lnTo>
                    <a:lnTo>
                      <a:pt x="294" y="0"/>
                    </a:lnTo>
                    <a:lnTo>
                      <a:pt x="294" y="0"/>
                    </a:lnTo>
                    <a:lnTo>
                      <a:pt x="322" y="2"/>
                    </a:lnTo>
                    <a:lnTo>
                      <a:pt x="350" y="6"/>
                    </a:lnTo>
                    <a:lnTo>
                      <a:pt x="378" y="14"/>
                    </a:lnTo>
                    <a:lnTo>
                      <a:pt x="406" y="22"/>
                    </a:lnTo>
                    <a:lnTo>
                      <a:pt x="414" y="26"/>
                    </a:lnTo>
                    <a:lnTo>
                      <a:pt x="406" y="44"/>
                    </a:lnTo>
                    <a:lnTo>
                      <a:pt x="398" y="40"/>
                    </a:lnTo>
                    <a:lnTo>
                      <a:pt x="398" y="40"/>
                    </a:lnTo>
                    <a:lnTo>
                      <a:pt x="374" y="30"/>
                    </a:lnTo>
                    <a:lnTo>
                      <a:pt x="348" y="24"/>
                    </a:lnTo>
                    <a:lnTo>
                      <a:pt x="320" y="20"/>
                    </a:lnTo>
                    <a:lnTo>
                      <a:pt x="294" y="18"/>
                    </a:lnTo>
                    <a:lnTo>
                      <a:pt x="294" y="18"/>
                    </a:lnTo>
                    <a:lnTo>
                      <a:pt x="266" y="20"/>
                    </a:lnTo>
                    <a:lnTo>
                      <a:pt x="238" y="24"/>
                    </a:lnTo>
                    <a:lnTo>
                      <a:pt x="212" y="32"/>
                    </a:lnTo>
                    <a:lnTo>
                      <a:pt x="186" y="40"/>
                    </a:lnTo>
                    <a:lnTo>
                      <a:pt x="162" y="52"/>
                    </a:lnTo>
                    <a:lnTo>
                      <a:pt x="140" y="66"/>
                    </a:lnTo>
                    <a:lnTo>
                      <a:pt x="118" y="82"/>
                    </a:lnTo>
                    <a:lnTo>
                      <a:pt x="98" y="100"/>
                    </a:lnTo>
                    <a:lnTo>
                      <a:pt x="82" y="120"/>
                    </a:lnTo>
                    <a:lnTo>
                      <a:pt x="66" y="140"/>
                    </a:lnTo>
                    <a:lnTo>
                      <a:pt x="52" y="164"/>
                    </a:lnTo>
                    <a:lnTo>
                      <a:pt x="40" y="188"/>
                    </a:lnTo>
                    <a:lnTo>
                      <a:pt x="30" y="212"/>
                    </a:lnTo>
                    <a:lnTo>
                      <a:pt x="24" y="238"/>
                    </a:lnTo>
                    <a:lnTo>
                      <a:pt x="20" y="266"/>
                    </a:lnTo>
                    <a:lnTo>
                      <a:pt x="18" y="294"/>
                    </a:lnTo>
                    <a:lnTo>
                      <a:pt x="18" y="294"/>
                    </a:lnTo>
                    <a:lnTo>
                      <a:pt x="20" y="322"/>
                    </a:lnTo>
                    <a:lnTo>
                      <a:pt x="24" y="350"/>
                    </a:lnTo>
                    <a:lnTo>
                      <a:pt x="30" y="376"/>
                    </a:lnTo>
                    <a:lnTo>
                      <a:pt x="40" y="402"/>
                    </a:lnTo>
                    <a:lnTo>
                      <a:pt x="52" y="426"/>
                    </a:lnTo>
                    <a:lnTo>
                      <a:pt x="66" y="448"/>
                    </a:lnTo>
                    <a:lnTo>
                      <a:pt x="82" y="470"/>
                    </a:lnTo>
                    <a:lnTo>
                      <a:pt x="98" y="488"/>
                    </a:lnTo>
                    <a:lnTo>
                      <a:pt x="118" y="506"/>
                    </a:lnTo>
                    <a:lnTo>
                      <a:pt x="140" y="522"/>
                    </a:lnTo>
                    <a:lnTo>
                      <a:pt x="162" y="536"/>
                    </a:lnTo>
                    <a:lnTo>
                      <a:pt x="186" y="548"/>
                    </a:lnTo>
                    <a:lnTo>
                      <a:pt x="212" y="558"/>
                    </a:lnTo>
                    <a:lnTo>
                      <a:pt x="238" y="564"/>
                    </a:lnTo>
                    <a:lnTo>
                      <a:pt x="266" y="568"/>
                    </a:lnTo>
                    <a:lnTo>
                      <a:pt x="294" y="570"/>
                    </a:lnTo>
                    <a:lnTo>
                      <a:pt x="294" y="570"/>
                    </a:lnTo>
                    <a:lnTo>
                      <a:pt x="316" y="568"/>
                    </a:lnTo>
                    <a:lnTo>
                      <a:pt x="340" y="566"/>
                    </a:lnTo>
                    <a:lnTo>
                      <a:pt x="362" y="560"/>
                    </a:lnTo>
                    <a:lnTo>
                      <a:pt x="386" y="554"/>
                    </a:lnTo>
                    <a:lnTo>
                      <a:pt x="394" y="550"/>
                    </a:lnTo>
                    <a:lnTo>
                      <a:pt x="400" y="568"/>
                    </a:lnTo>
                    <a:lnTo>
                      <a:pt x="392" y="570"/>
                    </a:lnTo>
                    <a:lnTo>
                      <a:pt x="392" y="570"/>
                    </a:lnTo>
                    <a:lnTo>
                      <a:pt x="368" y="578"/>
                    </a:lnTo>
                    <a:lnTo>
                      <a:pt x="344" y="584"/>
                    </a:lnTo>
                    <a:lnTo>
                      <a:pt x="318" y="586"/>
                    </a:lnTo>
                    <a:lnTo>
                      <a:pt x="294" y="588"/>
                    </a:lnTo>
                    <a:lnTo>
                      <a:pt x="294"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57">
                <a:extLst>
                  <a:ext uri="{FF2B5EF4-FFF2-40B4-BE49-F238E27FC236}">
                    <a16:creationId xmlns:a16="http://schemas.microsoft.com/office/drawing/2014/main" id="{4B8B4EAD-2DF7-4AC9-B927-F9C4D46B7A28}"/>
                  </a:ext>
                </a:extLst>
              </p:cNvPr>
              <p:cNvSpPr>
                <a:spLocks/>
              </p:cNvSpPr>
              <p:nvPr/>
            </p:nvSpPr>
            <p:spPr bwMode="auto">
              <a:xfrm>
                <a:off x="933450" y="4927600"/>
                <a:ext cx="403225" cy="933450"/>
              </a:xfrm>
              <a:custGeom>
                <a:avLst/>
                <a:gdLst>
                  <a:gd name="T0" fmla="*/ 164 w 254"/>
                  <a:gd name="T1" fmla="*/ 588 h 588"/>
                  <a:gd name="T2" fmla="*/ 130 w 254"/>
                  <a:gd name="T3" fmla="*/ 582 h 588"/>
                  <a:gd name="T4" fmla="*/ 100 w 254"/>
                  <a:gd name="T5" fmla="*/ 564 h 588"/>
                  <a:gd name="T6" fmla="*/ 72 w 254"/>
                  <a:gd name="T7" fmla="*/ 538 h 588"/>
                  <a:gd name="T8" fmla="*/ 48 w 254"/>
                  <a:gd name="T9" fmla="*/ 502 h 588"/>
                  <a:gd name="T10" fmla="*/ 28 w 254"/>
                  <a:gd name="T11" fmla="*/ 458 h 588"/>
                  <a:gd name="T12" fmla="*/ 12 w 254"/>
                  <a:gd name="T13" fmla="*/ 408 h 588"/>
                  <a:gd name="T14" fmla="*/ 2 w 254"/>
                  <a:gd name="T15" fmla="*/ 354 h 588"/>
                  <a:gd name="T16" fmla="*/ 0 w 254"/>
                  <a:gd name="T17" fmla="*/ 294 h 588"/>
                  <a:gd name="T18" fmla="*/ 0 w 254"/>
                  <a:gd name="T19" fmla="*/ 264 h 588"/>
                  <a:gd name="T20" fmla="*/ 6 w 254"/>
                  <a:gd name="T21" fmla="*/ 208 h 588"/>
                  <a:gd name="T22" fmla="*/ 20 w 254"/>
                  <a:gd name="T23" fmla="*/ 154 h 588"/>
                  <a:gd name="T24" fmla="*/ 36 w 254"/>
                  <a:gd name="T25" fmla="*/ 108 h 588"/>
                  <a:gd name="T26" fmla="*/ 60 w 254"/>
                  <a:gd name="T27" fmla="*/ 68 h 588"/>
                  <a:gd name="T28" fmla="*/ 86 w 254"/>
                  <a:gd name="T29" fmla="*/ 36 h 588"/>
                  <a:gd name="T30" fmla="*/ 114 w 254"/>
                  <a:gd name="T31" fmla="*/ 14 h 588"/>
                  <a:gd name="T32" fmla="*/ 146 w 254"/>
                  <a:gd name="T33" fmla="*/ 2 h 588"/>
                  <a:gd name="T34" fmla="*/ 164 w 254"/>
                  <a:gd name="T35" fmla="*/ 0 h 588"/>
                  <a:gd name="T36" fmla="*/ 184 w 254"/>
                  <a:gd name="T37" fmla="*/ 4 h 588"/>
                  <a:gd name="T38" fmla="*/ 226 w 254"/>
                  <a:gd name="T39" fmla="*/ 22 h 588"/>
                  <a:gd name="T40" fmla="*/ 250 w 254"/>
                  <a:gd name="T41" fmla="*/ 44 h 588"/>
                  <a:gd name="T42" fmla="*/ 232 w 254"/>
                  <a:gd name="T43" fmla="*/ 52 h 588"/>
                  <a:gd name="T44" fmla="*/ 216 w 254"/>
                  <a:gd name="T45" fmla="*/ 38 h 588"/>
                  <a:gd name="T46" fmla="*/ 182 w 254"/>
                  <a:gd name="T47" fmla="*/ 20 h 588"/>
                  <a:gd name="T48" fmla="*/ 164 w 254"/>
                  <a:gd name="T49" fmla="*/ 18 h 588"/>
                  <a:gd name="T50" fmla="*/ 134 w 254"/>
                  <a:gd name="T51" fmla="*/ 24 h 588"/>
                  <a:gd name="T52" fmla="*/ 106 w 254"/>
                  <a:gd name="T53" fmla="*/ 40 h 588"/>
                  <a:gd name="T54" fmla="*/ 82 w 254"/>
                  <a:gd name="T55" fmla="*/ 66 h 588"/>
                  <a:gd name="T56" fmla="*/ 60 w 254"/>
                  <a:gd name="T57" fmla="*/ 100 h 588"/>
                  <a:gd name="T58" fmla="*/ 42 w 254"/>
                  <a:gd name="T59" fmla="*/ 140 h 588"/>
                  <a:gd name="T60" fmla="*/ 28 w 254"/>
                  <a:gd name="T61" fmla="*/ 188 h 588"/>
                  <a:gd name="T62" fmla="*/ 20 w 254"/>
                  <a:gd name="T63" fmla="*/ 238 h 588"/>
                  <a:gd name="T64" fmla="*/ 18 w 254"/>
                  <a:gd name="T65" fmla="*/ 294 h 588"/>
                  <a:gd name="T66" fmla="*/ 18 w 254"/>
                  <a:gd name="T67" fmla="*/ 322 h 588"/>
                  <a:gd name="T68" fmla="*/ 24 w 254"/>
                  <a:gd name="T69" fmla="*/ 376 h 588"/>
                  <a:gd name="T70" fmla="*/ 36 w 254"/>
                  <a:gd name="T71" fmla="*/ 426 h 588"/>
                  <a:gd name="T72" fmla="*/ 50 w 254"/>
                  <a:gd name="T73" fmla="*/ 470 h 588"/>
                  <a:gd name="T74" fmla="*/ 70 w 254"/>
                  <a:gd name="T75" fmla="*/ 506 h 588"/>
                  <a:gd name="T76" fmla="*/ 94 w 254"/>
                  <a:gd name="T77" fmla="*/ 536 h 588"/>
                  <a:gd name="T78" fmla="*/ 120 w 254"/>
                  <a:gd name="T79" fmla="*/ 558 h 588"/>
                  <a:gd name="T80" fmla="*/ 148 w 254"/>
                  <a:gd name="T81" fmla="*/ 568 h 588"/>
                  <a:gd name="T82" fmla="*/ 164 w 254"/>
                  <a:gd name="T83" fmla="*/ 570 h 588"/>
                  <a:gd name="T84" fmla="*/ 200 w 254"/>
                  <a:gd name="T85" fmla="*/ 560 h 588"/>
                  <a:gd name="T86" fmla="*/ 234 w 254"/>
                  <a:gd name="T87" fmla="*/ 534 h 588"/>
                  <a:gd name="T88" fmla="*/ 254 w 254"/>
                  <a:gd name="T89" fmla="*/ 540 h 588"/>
                  <a:gd name="T90" fmla="*/ 246 w 254"/>
                  <a:gd name="T91" fmla="*/ 548 h 588"/>
                  <a:gd name="T92" fmla="*/ 206 w 254"/>
                  <a:gd name="T93" fmla="*/ 578 h 588"/>
                  <a:gd name="T94" fmla="*/ 186 w 254"/>
                  <a:gd name="T95" fmla="*/ 584 h 588"/>
                  <a:gd name="T96" fmla="*/ 164 w 254"/>
                  <a:gd name="T9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588">
                    <a:moveTo>
                      <a:pt x="164" y="588"/>
                    </a:moveTo>
                    <a:lnTo>
                      <a:pt x="164" y="588"/>
                    </a:lnTo>
                    <a:lnTo>
                      <a:pt x="146" y="586"/>
                    </a:lnTo>
                    <a:lnTo>
                      <a:pt x="130" y="582"/>
                    </a:lnTo>
                    <a:lnTo>
                      <a:pt x="114" y="574"/>
                    </a:lnTo>
                    <a:lnTo>
                      <a:pt x="100" y="564"/>
                    </a:lnTo>
                    <a:lnTo>
                      <a:pt x="86" y="552"/>
                    </a:lnTo>
                    <a:lnTo>
                      <a:pt x="72" y="538"/>
                    </a:lnTo>
                    <a:lnTo>
                      <a:pt x="60" y="520"/>
                    </a:lnTo>
                    <a:lnTo>
                      <a:pt x="48" y="502"/>
                    </a:lnTo>
                    <a:lnTo>
                      <a:pt x="36" y="480"/>
                    </a:lnTo>
                    <a:lnTo>
                      <a:pt x="28" y="458"/>
                    </a:lnTo>
                    <a:lnTo>
                      <a:pt x="20" y="434"/>
                    </a:lnTo>
                    <a:lnTo>
                      <a:pt x="12" y="408"/>
                    </a:lnTo>
                    <a:lnTo>
                      <a:pt x="6" y="382"/>
                    </a:lnTo>
                    <a:lnTo>
                      <a:pt x="2" y="354"/>
                    </a:lnTo>
                    <a:lnTo>
                      <a:pt x="0" y="324"/>
                    </a:lnTo>
                    <a:lnTo>
                      <a:pt x="0" y="294"/>
                    </a:lnTo>
                    <a:lnTo>
                      <a:pt x="0" y="294"/>
                    </a:lnTo>
                    <a:lnTo>
                      <a:pt x="0" y="264"/>
                    </a:lnTo>
                    <a:lnTo>
                      <a:pt x="2" y="236"/>
                    </a:lnTo>
                    <a:lnTo>
                      <a:pt x="6" y="208"/>
                    </a:lnTo>
                    <a:lnTo>
                      <a:pt x="12" y="180"/>
                    </a:lnTo>
                    <a:lnTo>
                      <a:pt x="20" y="154"/>
                    </a:lnTo>
                    <a:lnTo>
                      <a:pt x="28" y="130"/>
                    </a:lnTo>
                    <a:lnTo>
                      <a:pt x="36" y="108"/>
                    </a:lnTo>
                    <a:lnTo>
                      <a:pt x="48" y="86"/>
                    </a:lnTo>
                    <a:lnTo>
                      <a:pt x="60" y="68"/>
                    </a:lnTo>
                    <a:lnTo>
                      <a:pt x="72" y="52"/>
                    </a:lnTo>
                    <a:lnTo>
                      <a:pt x="86" y="36"/>
                    </a:lnTo>
                    <a:lnTo>
                      <a:pt x="100" y="24"/>
                    </a:lnTo>
                    <a:lnTo>
                      <a:pt x="114" y="14"/>
                    </a:lnTo>
                    <a:lnTo>
                      <a:pt x="130" y="6"/>
                    </a:lnTo>
                    <a:lnTo>
                      <a:pt x="146" y="2"/>
                    </a:lnTo>
                    <a:lnTo>
                      <a:pt x="164" y="0"/>
                    </a:lnTo>
                    <a:lnTo>
                      <a:pt x="164" y="0"/>
                    </a:lnTo>
                    <a:lnTo>
                      <a:pt x="174" y="2"/>
                    </a:lnTo>
                    <a:lnTo>
                      <a:pt x="184" y="4"/>
                    </a:lnTo>
                    <a:lnTo>
                      <a:pt x="206" y="10"/>
                    </a:lnTo>
                    <a:lnTo>
                      <a:pt x="226" y="22"/>
                    </a:lnTo>
                    <a:lnTo>
                      <a:pt x="244" y="38"/>
                    </a:lnTo>
                    <a:lnTo>
                      <a:pt x="250" y="44"/>
                    </a:lnTo>
                    <a:lnTo>
                      <a:pt x="238" y="58"/>
                    </a:lnTo>
                    <a:lnTo>
                      <a:pt x="232" y="52"/>
                    </a:lnTo>
                    <a:lnTo>
                      <a:pt x="232" y="52"/>
                    </a:lnTo>
                    <a:lnTo>
                      <a:pt x="216" y="38"/>
                    </a:lnTo>
                    <a:lnTo>
                      <a:pt x="198" y="28"/>
                    </a:lnTo>
                    <a:lnTo>
                      <a:pt x="182" y="20"/>
                    </a:lnTo>
                    <a:lnTo>
                      <a:pt x="164" y="18"/>
                    </a:lnTo>
                    <a:lnTo>
                      <a:pt x="164" y="18"/>
                    </a:lnTo>
                    <a:lnTo>
                      <a:pt x="148" y="20"/>
                    </a:lnTo>
                    <a:lnTo>
                      <a:pt x="134" y="24"/>
                    </a:lnTo>
                    <a:lnTo>
                      <a:pt x="120" y="32"/>
                    </a:lnTo>
                    <a:lnTo>
                      <a:pt x="106" y="40"/>
                    </a:lnTo>
                    <a:lnTo>
                      <a:pt x="94" y="52"/>
                    </a:lnTo>
                    <a:lnTo>
                      <a:pt x="82" y="66"/>
                    </a:lnTo>
                    <a:lnTo>
                      <a:pt x="70" y="82"/>
                    </a:lnTo>
                    <a:lnTo>
                      <a:pt x="60" y="100"/>
                    </a:lnTo>
                    <a:lnTo>
                      <a:pt x="50" y="120"/>
                    </a:lnTo>
                    <a:lnTo>
                      <a:pt x="42" y="140"/>
                    </a:lnTo>
                    <a:lnTo>
                      <a:pt x="36" y="164"/>
                    </a:lnTo>
                    <a:lnTo>
                      <a:pt x="28" y="188"/>
                    </a:lnTo>
                    <a:lnTo>
                      <a:pt x="24" y="212"/>
                    </a:lnTo>
                    <a:lnTo>
                      <a:pt x="20" y="238"/>
                    </a:lnTo>
                    <a:lnTo>
                      <a:pt x="18" y="266"/>
                    </a:lnTo>
                    <a:lnTo>
                      <a:pt x="18" y="294"/>
                    </a:lnTo>
                    <a:lnTo>
                      <a:pt x="18" y="294"/>
                    </a:lnTo>
                    <a:lnTo>
                      <a:pt x="18" y="322"/>
                    </a:lnTo>
                    <a:lnTo>
                      <a:pt x="20" y="350"/>
                    </a:lnTo>
                    <a:lnTo>
                      <a:pt x="24" y="376"/>
                    </a:lnTo>
                    <a:lnTo>
                      <a:pt x="28" y="402"/>
                    </a:lnTo>
                    <a:lnTo>
                      <a:pt x="36" y="426"/>
                    </a:lnTo>
                    <a:lnTo>
                      <a:pt x="42" y="448"/>
                    </a:lnTo>
                    <a:lnTo>
                      <a:pt x="50" y="470"/>
                    </a:lnTo>
                    <a:lnTo>
                      <a:pt x="60" y="488"/>
                    </a:lnTo>
                    <a:lnTo>
                      <a:pt x="70" y="506"/>
                    </a:lnTo>
                    <a:lnTo>
                      <a:pt x="82" y="522"/>
                    </a:lnTo>
                    <a:lnTo>
                      <a:pt x="94" y="536"/>
                    </a:lnTo>
                    <a:lnTo>
                      <a:pt x="106" y="548"/>
                    </a:lnTo>
                    <a:lnTo>
                      <a:pt x="120" y="558"/>
                    </a:lnTo>
                    <a:lnTo>
                      <a:pt x="134" y="564"/>
                    </a:lnTo>
                    <a:lnTo>
                      <a:pt x="148" y="568"/>
                    </a:lnTo>
                    <a:lnTo>
                      <a:pt x="164" y="570"/>
                    </a:lnTo>
                    <a:lnTo>
                      <a:pt x="164" y="570"/>
                    </a:lnTo>
                    <a:lnTo>
                      <a:pt x="182" y="568"/>
                    </a:lnTo>
                    <a:lnTo>
                      <a:pt x="200" y="560"/>
                    </a:lnTo>
                    <a:lnTo>
                      <a:pt x="218" y="550"/>
                    </a:lnTo>
                    <a:lnTo>
                      <a:pt x="234" y="534"/>
                    </a:lnTo>
                    <a:lnTo>
                      <a:pt x="240" y="528"/>
                    </a:lnTo>
                    <a:lnTo>
                      <a:pt x="254" y="540"/>
                    </a:lnTo>
                    <a:lnTo>
                      <a:pt x="246" y="548"/>
                    </a:lnTo>
                    <a:lnTo>
                      <a:pt x="246" y="548"/>
                    </a:lnTo>
                    <a:lnTo>
                      <a:pt x="228" y="564"/>
                    </a:lnTo>
                    <a:lnTo>
                      <a:pt x="206" y="578"/>
                    </a:lnTo>
                    <a:lnTo>
                      <a:pt x="196" y="582"/>
                    </a:lnTo>
                    <a:lnTo>
                      <a:pt x="186" y="584"/>
                    </a:lnTo>
                    <a:lnTo>
                      <a:pt x="174" y="586"/>
                    </a:lnTo>
                    <a:lnTo>
                      <a:pt x="164" y="588"/>
                    </a:lnTo>
                    <a:lnTo>
                      <a:pt x="164"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58">
                <a:extLst>
                  <a:ext uri="{FF2B5EF4-FFF2-40B4-BE49-F238E27FC236}">
                    <a16:creationId xmlns:a16="http://schemas.microsoft.com/office/drawing/2014/main" id="{DFDA4A34-FF60-40E6-BA42-4BDA2A09C05C}"/>
                  </a:ext>
                </a:extLst>
              </p:cNvPr>
              <p:cNvSpPr>
                <a:spLocks noChangeArrowheads="1"/>
              </p:cNvSpPr>
              <p:nvPr/>
            </p:nvSpPr>
            <p:spPr bwMode="auto">
              <a:xfrm>
                <a:off x="1177925" y="4927600"/>
                <a:ext cx="28575" cy="933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59">
                <a:extLst>
                  <a:ext uri="{FF2B5EF4-FFF2-40B4-BE49-F238E27FC236}">
                    <a16:creationId xmlns:a16="http://schemas.microsoft.com/office/drawing/2014/main" id="{F965DAB2-FB78-45E5-811F-088D07A9B861}"/>
                  </a:ext>
                </a:extLst>
              </p:cNvPr>
              <p:cNvSpPr>
                <a:spLocks noChangeArrowheads="1"/>
              </p:cNvSpPr>
              <p:nvPr/>
            </p:nvSpPr>
            <p:spPr bwMode="auto">
              <a:xfrm>
                <a:off x="796925" y="5162550"/>
                <a:ext cx="4889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60">
                <a:extLst>
                  <a:ext uri="{FF2B5EF4-FFF2-40B4-BE49-F238E27FC236}">
                    <a16:creationId xmlns:a16="http://schemas.microsoft.com/office/drawing/2014/main" id="{9F43FAE9-3011-4897-80FF-CD4B54E0A85D}"/>
                  </a:ext>
                </a:extLst>
              </p:cNvPr>
              <p:cNvSpPr>
                <a:spLocks noChangeArrowheads="1"/>
              </p:cNvSpPr>
              <p:nvPr/>
            </p:nvSpPr>
            <p:spPr bwMode="auto">
              <a:xfrm>
                <a:off x="793750" y="5600700"/>
                <a:ext cx="6191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161">
                <a:extLst>
                  <a:ext uri="{FF2B5EF4-FFF2-40B4-BE49-F238E27FC236}">
                    <a16:creationId xmlns:a16="http://schemas.microsoft.com/office/drawing/2014/main" id="{37D9E1C7-0626-41B3-9EE8-2703DFDAC43B}"/>
                  </a:ext>
                </a:extLst>
              </p:cNvPr>
              <p:cNvSpPr>
                <a:spLocks noChangeArrowheads="1"/>
              </p:cNvSpPr>
              <p:nvPr/>
            </p:nvSpPr>
            <p:spPr bwMode="auto">
              <a:xfrm>
                <a:off x="727075" y="5381625"/>
                <a:ext cx="628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 name="Group 63">
            <a:extLst>
              <a:ext uri="{FF2B5EF4-FFF2-40B4-BE49-F238E27FC236}">
                <a16:creationId xmlns:a16="http://schemas.microsoft.com/office/drawing/2014/main" id="{E749187A-6668-497A-BFE5-545CC0D9773D}"/>
              </a:ext>
            </a:extLst>
          </p:cNvPr>
          <p:cNvGrpSpPr/>
          <p:nvPr/>
        </p:nvGrpSpPr>
        <p:grpSpPr>
          <a:xfrm>
            <a:off x="1226311" y="3852326"/>
            <a:ext cx="4464000" cy="329916"/>
            <a:chOff x="609918" y="3423481"/>
            <a:chExt cx="3477120" cy="330088"/>
          </a:xfrm>
        </p:grpSpPr>
        <p:sp>
          <p:nvSpPr>
            <p:cNvPr id="65" name="Arrow: Left-Right 64">
              <a:extLst>
                <a:ext uri="{FF2B5EF4-FFF2-40B4-BE49-F238E27FC236}">
                  <a16:creationId xmlns:a16="http://schemas.microsoft.com/office/drawing/2014/main" id="{A7226389-AB24-4B30-B9DC-0B1E15532C46}"/>
                </a:ext>
              </a:extLst>
            </p:cNvPr>
            <p:cNvSpPr/>
            <p:nvPr/>
          </p:nvSpPr>
          <p:spPr>
            <a:xfrm>
              <a:off x="609918" y="3423481"/>
              <a:ext cx="3477120" cy="33008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algn="ctr" defTabSz="441794">
                <a:lnSpc>
                  <a:spcPct val="110000"/>
                </a:lnSpc>
                <a:spcBef>
                  <a:spcPct val="20000"/>
                </a:spcBef>
              </a:pPr>
              <a:r>
                <a:rPr lang="en-US" sz="1600" b="1">
                  <a:solidFill>
                    <a:schemeClr val="tx1"/>
                  </a:solidFill>
                  <a:sym typeface="EYInterstate Light" panose="02000506000000020004" pitchFamily="2" charset="0"/>
                </a:rPr>
                <a:t>Guiding coalition</a:t>
              </a:r>
            </a:p>
          </p:txBody>
        </p:sp>
        <p:cxnSp>
          <p:nvCxnSpPr>
            <p:cNvPr id="66" name="Straight Connector 65">
              <a:extLst>
                <a:ext uri="{FF2B5EF4-FFF2-40B4-BE49-F238E27FC236}">
                  <a16:creationId xmlns:a16="http://schemas.microsoft.com/office/drawing/2014/main" id="{F65071AC-B466-476A-B23C-16166959918E}"/>
                </a:ext>
              </a:extLst>
            </p:cNvPr>
            <p:cNvCxnSpPr>
              <a:stCxn id="65" idx="4"/>
              <a:endCxn id="65" idx="6"/>
            </p:cNvCxnSpPr>
            <p:nvPr/>
          </p:nvCxnSpPr>
          <p:spPr>
            <a:xfrm>
              <a:off x="609918" y="3753569"/>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B959F216-FFAD-4E45-B411-A86CAD4F1955}"/>
              </a:ext>
            </a:extLst>
          </p:cNvPr>
          <p:cNvGrpSpPr/>
          <p:nvPr/>
        </p:nvGrpSpPr>
        <p:grpSpPr>
          <a:xfrm>
            <a:off x="2660521" y="1473567"/>
            <a:ext cx="1703064" cy="1703064"/>
            <a:chOff x="2660521" y="1473567"/>
            <a:chExt cx="1703064" cy="1703064"/>
          </a:xfrm>
        </p:grpSpPr>
        <p:sp>
          <p:nvSpPr>
            <p:cNvPr id="58" name="Oval 57">
              <a:extLst>
                <a:ext uri="{FF2B5EF4-FFF2-40B4-BE49-F238E27FC236}">
                  <a16:creationId xmlns:a16="http://schemas.microsoft.com/office/drawing/2014/main" id="{886B7B0B-FDE5-4C05-9FCA-11182A7E92D1}"/>
                </a:ext>
              </a:extLst>
            </p:cNvPr>
            <p:cNvSpPr/>
            <p:nvPr/>
          </p:nvSpPr>
          <p:spPr>
            <a:xfrm>
              <a:off x="2660521" y="1473567"/>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704"/>
              <a:endParaRPr lang="en-US" sz="1462">
                <a:solidFill>
                  <a:schemeClr val="tx1"/>
                </a:solidFill>
                <a:latin typeface="EYInterstate Light" panose="02000506000000020004" pitchFamily="2" charset="0"/>
                <a:sym typeface="EYInterstate Light" panose="02000506000000020004" pitchFamily="2" charset="0"/>
              </a:endParaRPr>
            </a:p>
          </p:txBody>
        </p:sp>
        <p:grpSp>
          <p:nvGrpSpPr>
            <p:cNvPr id="104" name="Group 71">
              <a:extLst>
                <a:ext uri="{FF2B5EF4-FFF2-40B4-BE49-F238E27FC236}">
                  <a16:creationId xmlns:a16="http://schemas.microsoft.com/office/drawing/2014/main" id="{FD060C75-BB51-4EDE-AF4D-29A91CD8F598}"/>
                </a:ext>
              </a:extLst>
            </p:cNvPr>
            <p:cNvGrpSpPr>
              <a:grpSpLocks noChangeAspect="1"/>
            </p:cNvGrpSpPr>
            <p:nvPr/>
          </p:nvGrpSpPr>
          <p:grpSpPr bwMode="auto">
            <a:xfrm>
              <a:off x="2991795" y="1965099"/>
              <a:ext cx="1040516" cy="720000"/>
              <a:chOff x="3091" y="1986"/>
              <a:chExt cx="896" cy="620"/>
            </a:xfrm>
            <a:solidFill>
              <a:schemeClr val="bg1"/>
            </a:solidFill>
          </p:grpSpPr>
          <p:sp>
            <p:nvSpPr>
              <p:cNvPr id="105" name="Freeform 72">
                <a:extLst>
                  <a:ext uri="{FF2B5EF4-FFF2-40B4-BE49-F238E27FC236}">
                    <a16:creationId xmlns:a16="http://schemas.microsoft.com/office/drawing/2014/main" id="{0F0FF657-672F-4238-A72E-0D5BD1C7C428}"/>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73">
                <a:extLst>
                  <a:ext uri="{FF2B5EF4-FFF2-40B4-BE49-F238E27FC236}">
                    <a16:creationId xmlns:a16="http://schemas.microsoft.com/office/drawing/2014/main" id="{C5551045-0143-4AE2-BD83-BB14B22926A8}"/>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74">
                <a:extLst>
                  <a:ext uri="{FF2B5EF4-FFF2-40B4-BE49-F238E27FC236}">
                    <a16:creationId xmlns:a16="http://schemas.microsoft.com/office/drawing/2014/main" id="{12DB3104-7C1A-4280-8D4B-0A5CFF3C95A3}"/>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75">
                <a:extLst>
                  <a:ext uri="{FF2B5EF4-FFF2-40B4-BE49-F238E27FC236}">
                    <a16:creationId xmlns:a16="http://schemas.microsoft.com/office/drawing/2014/main" id="{AAC8D400-26F7-4C2A-BDCF-69E740FFF068}"/>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Line 76">
                <a:extLst>
                  <a:ext uri="{FF2B5EF4-FFF2-40B4-BE49-F238E27FC236}">
                    <a16:creationId xmlns:a16="http://schemas.microsoft.com/office/drawing/2014/main" id="{E87F3B60-2055-4B66-915A-AF91EBA1AF1A}"/>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Line 77">
                <a:extLst>
                  <a:ext uri="{FF2B5EF4-FFF2-40B4-BE49-F238E27FC236}">
                    <a16:creationId xmlns:a16="http://schemas.microsoft.com/office/drawing/2014/main" id="{223CE83C-F287-4287-94A1-98A9D5C38F9D}"/>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p>
            </p:txBody>
          </p:sp>
          <p:sp>
            <p:nvSpPr>
              <p:cNvPr id="111" name="Freeform 78">
                <a:extLst>
                  <a:ext uri="{FF2B5EF4-FFF2-40B4-BE49-F238E27FC236}">
                    <a16:creationId xmlns:a16="http://schemas.microsoft.com/office/drawing/2014/main" id="{266BF651-DC5C-47D1-B269-0426EC0B40AF}"/>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9">
                <a:extLst>
                  <a:ext uri="{FF2B5EF4-FFF2-40B4-BE49-F238E27FC236}">
                    <a16:creationId xmlns:a16="http://schemas.microsoft.com/office/drawing/2014/main" id="{0AF419BC-80E9-4424-AB94-7EB8499F3FD3}"/>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0">
                <a:extLst>
                  <a:ext uri="{FF2B5EF4-FFF2-40B4-BE49-F238E27FC236}">
                    <a16:creationId xmlns:a16="http://schemas.microsoft.com/office/drawing/2014/main" id="{8494064A-6254-4380-B1D8-85B2B619AFCA}"/>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81">
                <a:extLst>
                  <a:ext uri="{FF2B5EF4-FFF2-40B4-BE49-F238E27FC236}">
                    <a16:creationId xmlns:a16="http://schemas.microsoft.com/office/drawing/2014/main" id="{8140ED19-833B-4C18-AF9E-79B139019FE8}"/>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82">
                <a:extLst>
                  <a:ext uri="{FF2B5EF4-FFF2-40B4-BE49-F238E27FC236}">
                    <a16:creationId xmlns:a16="http://schemas.microsoft.com/office/drawing/2014/main" id="{AF4B08DE-4202-4133-BB1A-C196AD3FB635}"/>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83">
                <a:extLst>
                  <a:ext uri="{FF2B5EF4-FFF2-40B4-BE49-F238E27FC236}">
                    <a16:creationId xmlns:a16="http://schemas.microsoft.com/office/drawing/2014/main" id="{C3332341-6318-46D6-B541-DBF3831DC353}"/>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4">
                <a:extLst>
                  <a:ext uri="{FF2B5EF4-FFF2-40B4-BE49-F238E27FC236}">
                    <a16:creationId xmlns:a16="http://schemas.microsoft.com/office/drawing/2014/main" id="{77365DAC-FB0F-495E-9439-A36D069F272C}"/>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85">
                <a:extLst>
                  <a:ext uri="{FF2B5EF4-FFF2-40B4-BE49-F238E27FC236}">
                    <a16:creationId xmlns:a16="http://schemas.microsoft.com/office/drawing/2014/main" id="{77BED4F6-9ED7-4494-A173-EF314213AAFE}"/>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86">
                <a:extLst>
                  <a:ext uri="{FF2B5EF4-FFF2-40B4-BE49-F238E27FC236}">
                    <a16:creationId xmlns:a16="http://schemas.microsoft.com/office/drawing/2014/main" id="{861C38D0-D44F-45D0-B725-3FD6E0F82670}"/>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3" name="Rectangle 52">
            <a:extLst>
              <a:ext uri="{FF2B5EF4-FFF2-40B4-BE49-F238E27FC236}">
                <a16:creationId xmlns:a16="http://schemas.microsoft.com/office/drawing/2014/main" id="{FE213726-0EAE-4DAE-B64D-64FD2C4E5BE9}"/>
              </a:ext>
            </a:extLst>
          </p:cNvPr>
          <p:cNvSpPr/>
          <p:nvPr/>
        </p:nvSpPr>
        <p:spPr>
          <a:xfrm>
            <a:off x="6381055" y="4283838"/>
            <a:ext cx="4463999" cy="1100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a:solidFill>
                  <a:schemeClr val="tx1"/>
                </a:solidFill>
              </a:rPr>
              <a:t>Data strategy roll-out / roadmap</a:t>
            </a:r>
          </a:p>
          <a:p>
            <a:pPr marL="285750" indent="-285750">
              <a:buFont typeface="Arial" panose="020B0604020202020204" pitchFamily="34" charset="0"/>
              <a:buChar char="•"/>
            </a:pPr>
            <a:r>
              <a:rPr lang="en-US" sz="1400">
                <a:solidFill>
                  <a:schemeClr val="tx1"/>
                </a:solidFill>
              </a:rPr>
              <a:t>Data governance approach</a:t>
            </a:r>
          </a:p>
          <a:p>
            <a:pPr marL="285750" indent="-285750">
              <a:buFont typeface="Arial" panose="020B0604020202020204" pitchFamily="34" charset="0"/>
              <a:buChar char="•"/>
            </a:pPr>
            <a:r>
              <a:rPr lang="en-US" sz="1400">
                <a:solidFill>
                  <a:schemeClr val="tx1"/>
                </a:solidFill>
              </a:rPr>
              <a:t>Sponsoring data challenges</a:t>
            </a:r>
          </a:p>
          <a:p>
            <a:pPr algn="ctr"/>
            <a:endParaRPr lang="de-DE">
              <a:solidFill>
                <a:schemeClr val="tx1"/>
              </a:solidFill>
            </a:endParaRPr>
          </a:p>
          <a:p>
            <a:pPr algn="ctr"/>
            <a:endParaRPr lang="de-DE">
              <a:solidFill>
                <a:schemeClr val="tx1"/>
              </a:solidFill>
            </a:endParaRPr>
          </a:p>
        </p:txBody>
      </p:sp>
      <p:sp>
        <p:nvSpPr>
          <p:cNvPr id="54" name="Rectangle 53">
            <a:extLst>
              <a:ext uri="{FF2B5EF4-FFF2-40B4-BE49-F238E27FC236}">
                <a16:creationId xmlns:a16="http://schemas.microsoft.com/office/drawing/2014/main" id="{44D903E8-D586-48F5-A0FF-CF60CF3C58C6}"/>
              </a:ext>
            </a:extLst>
          </p:cNvPr>
          <p:cNvSpPr/>
          <p:nvPr/>
        </p:nvSpPr>
        <p:spPr>
          <a:xfrm>
            <a:off x="1226312" y="4275933"/>
            <a:ext cx="4349814" cy="1100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defTabSz="441794">
              <a:lnSpc>
                <a:spcPct val="110000"/>
              </a:lnSpc>
              <a:spcBef>
                <a:spcPct val="20000"/>
              </a:spcBef>
              <a:buFont typeface="Arial" panose="020B0604020202020204" pitchFamily="34" charset="0"/>
              <a:buChar char="•"/>
            </a:pPr>
            <a:r>
              <a:rPr lang="en-US" sz="1400">
                <a:solidFill>
                  <a:schemeClr val="tx1"/>
                </a:solidFill>
                <a:sym typeface="EYInterstate Light" panose="02000506000000020004" pitchFamily="2" charset="0"/>
              </a:rPr>
              <a:t>Meeting cadence every two weeks</a:t>
            </a:r>
          </a:p>
          <a:p>
            <a:pPr marL="285750" indent="-285750" defTabSz="441794">
              <a:lnSpc>
                <a:spcPct val="110000"/>
              </a:lnSpc>
              <a:spcBef>
                <a:spcPct val="20000"/>
              </a:spcBef>
              <a:buFont typeface="Arial" panose="020B0604020202020204" pitchFamily="34" charset="0"/>
              <a:buChar char="•"/>
            </a:pPr>
            <a:r>
              <a:rPr lang="en-US" sz="1400">
                <a:solidFill>
                  <a:schemeClr val="tx1"/>
                </a:solidFill>
                <a:sym typeface="EYInterstate Light" panose="02000506000000020004" pitchFamily="2" charset="0"/>
              </a:rPr>
              <a:t>Prioritize and vote on strategic initiatives</a:t>
            </a:r>
          </a:p>
          <a:p>
            <a:pPr algn="ctr" defTabSz="441794">
              <a:lnSpc>
                <a:spcPct val="110000"/>
              </a:lnSpc>
              <a:spcBef>
                <a:spcPct val="20000"/>
              </a:spcBef>
            </a:pPr>
            <a:endParaRPr lang="en-US" sz="1800">
              <a:solidFill>
                <a:schemeClr val="tx1"/>
              </a:solidFill>
              <a:sym typeface="EYInterstate Light" panose="02000506000000020004" pitchFamily="2" charset="0"/>
            </a:endParaRPr>
          </a:p>
        </p:txBody>
      </p:sp>
    </p:spTree>
    <p:extLst>
      <p:ext uri="{BB962C8B-B14F-4D97-AF65-F5344CB8AC3E}">
        <p14:creationId xmlns:p14="http://schemas.microsoft.com/office/powerpoint/2010/main" val="4138377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B22C7C95-CFFE-4157-8BBC-302392EDBBEF}"/>
              </a:ext>
            </a:extLst>
          </p:cNvPr>
          <p:cNvSpPr/>
          <p:nvPr/>
        </p:nvSpPr>
        <p:spPr>
          <a:xfrm>
            <a:off x="6096000" y="1088116"/>
            <a:ext cx="5791200" cy="4829810"/>
          </a:xfrm>
          <a:prstGeom prst="rect">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otential candidates for Data Governance Council</a:t>
            </a:r>
          </a:p>
        </p:txBody>
      </p:sp>
      <p:graphicFrame>
        <p:nvGraphicFramePr>
          <p:cNvPr id="39" name="Table 38">
            <a:extLst>
              <a:ext uri="{FF2B5EF4-FFF2-40B4-BE49-F238E27FC236}">
                <a16:creationId xmlns:a16="http://schemas.microsoft.com/office/drawing/2014/main" id="{09D81E7A-44F6-4274-A112-5B38F0873963}"/>
              </a:ext>
            </a:extLst>
          </p:cNvPr>
          <p:cNvGraphicFramePr>
            <a:graphicFrameLocks noGrp="1"/>
          </p:cNvGraphicFramePr>
          <p:nvPr>
            <p:extLst>
              <p:ext uri="{D42A27DB-BD31-4B8C-83A1-F6EECF244321}">
                <p14:modId xmlns:p14="http://schemas.microsoft.com/office/powerpoint/2010/main" val="3275802100"/>
              </p:ext>
            </p:extLst>
          </p:nvPr>
        </p:nvGraphicFramePr>
        <p:xfrm>
          <a:off x="556451" y="1088121"/>
          <a:ext cx="4169823" cy="4829803"/>
        </p:xfrm>
        <a:graphic>
          <a:graphicData uri="http://schemas.openxmlformats.org/drawingml/2006/table">
            <a:tbl>
              <a:tblPr firstRow="1" bandRow="1">
                <a:tableStyleId>{C4B1156A-380E-4F78-BDF5-A606A8083BF9}</a:tableStyleId>
              </a:tblPr>
              <a:tblGrid>
                <a:gridCol w="1659704">
                  <a:extLst>
                    <a:ext uri="{9D8B030D-6E8A-4147-A177-3AD203B41FA5}">
                      <a16:colId xmlns:a16="http://schemas.microsoft.com/office/drawing/2014/main" val="664324143"/>
                    </a:ext>
                  </a:extLst>
                </a:gridCol>
                <a:gridCol w="2510119">
                  <a:extLst>
                    <a:ext uri="{9D8B030D-6E8A-4147-A177-3AD203B41FA5}">
                      <a16:colId xmlns:a16="http://schemas.microsoft.com/office/drawing/2014/main" val="20001"/>
                    </a:ext>
                  </a:extLst>
                </a:gridCol>
              </a:tblGrid>
              <a:tr h="282723">
                <a:tc>
                  <a:txBody>
                    <a:bodyPr/>
                    <a:lstStyle/>
                    <a:p>
                      <a:pPr algn="l" rtl="0"/>
                      <a:r>
                        <a:rPr lang="en-US" sz="1100">
                          <a:solidFill>
                            <a:schemeClr val="bg1"/>
                          </a:solidFill>
                        </a:rPr>
                        <a:t>Guiding Coalition</a:t>
                      </a:r>
                    </a:p>
                  </a:txBody>
                  <a:tcPr marL="0" marR="0" marT="18000" marB="18000">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l" rtl="0"/>
                      <a:r>
                        <a:rPr lang="en-US" sz="1100">
                          <a:solidFill>
                            <a:schemeClr val="bg1"/>
                          </a:solidFill>
                        </a:rPr>
                        <a:t>Role</a:t>
                      </a:r>
                    </a:p>
                  </a:txBody>
                  <a:tcPr marL="0" marR="0" marT="18000" marB="18000">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Wouter Pet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Lance Camer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D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Nicole Sandi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T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Rishi Santokh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F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9397829"/>
                  </a:ext>
                </a:extLst>
              </a:tr>
              <a:tr h="230884">
                <a:tc>
                  <a:txBody>
                    <a:bodyPr/>
                    <a:lstStyle/>
                    <a:p>
                      <a:pPr rtl="0"/>
                      <a:r>
                        <a:rPr lang="en-US" sz="1100">
                          <a:solidFill>
                            <a:srgbClr val="000000"/>
                          </a:solidFill>
                          <a:latin typeface="+mn-lt"/>
                        </a:rPr>
                        <a:t>Steve Lempa</a:t>
                      </a:r>
                      <a:endParaRPr lang="en-US" sz="1100"/>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VP portfolio Risk Management</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Stuart Donald​</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Insigh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Brunno Marade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Responsible Investmen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Head of data office​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51766"/>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Kim Borman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Investment Opera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233327"/>
                  </a:ext>
                </a:extLst>
              </a:tr>
              <a:tr h="420955">
                <a:tc>
                  <a:txBody>
                    <a:bodyPr/>
                    <a:lstStyle/>
                    <a:p>
                      <a:pPr rtl="0"/>
                      <a:r>
                        <a:rPr lang="en-US" sz="1100"/>
                        <a:t>Erik den Harto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European Head of Account Management &amp; Client Servicing</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273261"/>
                  </a:ext>
                </a:extLst>
              </a:tr>
              <a:tr h="420955">
                <a:tc>
                  <a:txBody>
                    <a:bodyPr/>
                    <a:lstStyle/>
                    <a:p>
                      <a:pPr rtl="0"/>
                      <a:r>
                        <a:rPr lang="en-US" sz="1100"/>
                        <a:t>David </a:t>
                      </a:r>
                      <a:r>
                        <a:rPr lang="en-US" sz="1100" err="1"/>
                        <a:t>Hazeldine</a:t>
                      </a:r>
                      <a:endParaRPr lang="en-US" sz="1100"/>
                    </a:p>
                  </a:txBody>
                  <a:tcPr marL="0" marR="0" marT="18000" marB="1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lobal DP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9308800"/>
                  </a:ext>
                </a:extLst>
              </a:tr>
              <a:tr h="282723">
                <a:tc>
                  <a:txBody>
                    <a:bodyPr/>
                    <a:lstStyle/>
                    <a:p>
                      <a:pPr rtl="0"/>
                      <a:r>
                        <a:rPr lang="en-US" sz="1100" b="1">
                          <a:solidFill>
                            <a:schemeClr val="bg1"/>
                          </a:solidFill>
                        </a:rPr>
                        <a:t>Optional memb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rtl="0"/>
                      <a:endParaRPr lang="en-US" sz="1100" b="0"/>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3273196022"/>
                  </a:ext>
                </a:extLst>
              </a:tr>
              <a:tr h="420955">
                <a:tc>
                  <a:txBody>
                    <a:bodyPr/>
                    <a:lstStyle/>
                    <a:p>
                      <a:pPr rtl="0"/>
                      <a:r>
                        <a:rPr lang="en-US" sz="1100"/>
                        <a:t>Stephan Jone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Multi Asset &amp; Solu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842347"/>
                  </a:ext>
                </a:extLst>
              </a:tr>
              <a:tr h="230884">
                <a:tc>
                  <a:txBody>
                    <a:bodyPr/>
                    <a:lstStyle/>
                    <a:p>
                      <a:pPr rtl="0"/>
                      <a:r>
                        <a:rPr lang="en-US" sz="1100"/>
                        <a:t>Scott Cote</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Real Asset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93856"/>
                  </a:ext>
                </a:extLst>
              </a:tr>
              <a:tr h="230884">
                <a:tc>
                  <a:txBody>
                    <a:bodyPr/>
                    <a:lstStyle/>
                    <a:p>
                      <a:pPr rtl="0"/>
                      <a:r>
                        <a:rPr lang="en-US" sz="1100"/>
                        <a:t>Chris Thomp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Client Group</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334319"/>
                  </a:ext>
                </a:extLst>
              </a:tr>
              <a:tr h="230884">
                <a:tc>
                  <a:txBody>
                    <a:bodyPr/>
                    <a:lstStyle/>
                    <a:p>
                      <a:pPr rtl="0"/>
                      <a:r>
                        <a:rPr lang="en-US" sz="1100"/>
                        <a:t>Stuart Wat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Sr Finance business partner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775797"/>
                  </a:ext>
                </a:extLst>
              </a:tr>
              <a:tr h="230884">
                <a:tc>
                  <a:txBody>
                    <a:bodyPr/>
                    <a:lstStyle/>
                    <a:p>
                      <a:pPr rtl="0"/>
                      <a:r>
                        <a:rPr lang="en-US" sz="1100"/>
                        <a:t>Hiek van der Scheer</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roup CDA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316824"/>
                  </a:ext>
                </a:extLst>
              </a:tr>
            </a:tbl>
          </a:graphicData>
        </a:graphic>
      </p:graphicFrame>
      <p:grpSp>
        <p:nvGrpSpPr>
          <p:cNvPr id="82" name="Group 71">
            <a:extLst>
              <a:ext uri="{FF2B5EF4-FFF2-40B4-BE49-F238E27FC236}">
                <a16:creationId xmlns:a16="http://schemas.microsoft.com/office/drawing/2014/main" id="{71772E79-01B8-4A13-9CA0-30B9B27468AB}"/>
              </a:ext>
            </a:extLst>
          </p:cNvPr>
          <p:cNvGrpSpPr>
            <a:grpSpLocks noChangeAspect="1"/>
          </p:cNvGrpSpPr>
          <p:nvPr/>
        </p:nvGrpSpPr>
        <p:grpSpPr bwMode="auto">
          <a:xfrm>
            <a:off x="7350956" y="1248046"/>
            <a:ext cx="901854" cy="659346"/>
            <a:chOff x="3091" y="1986"/>
            <a:chExt cx="896" cy="620"/>
          </a:xfrm>
          <a:solidFill>
            <a:schemeClr val="accent1"/>
          </a:solidFill>
        </p:grpSpPr>
        <p:sp>
          <p:nvSpPr>
            <p:cNvPr id="83" name="Freeform 72">
              <a:extLst>
                <a:ext uri="{FF2B5EF4-FFF2-40B4-BE49-F238E27FC236}">
                  <a16:creationId xmlns:a16="http://schemas.microsoft.com/office/drawing/2014/main" id="{D72CB7F3-5A13-47F2-BEBC-BB149DAACE40}"/>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73">
              <a:extLst>
                <a:ext uri="{FF2B5EF4-FFF2-40B4-BE49-F238E27FC236}">
                  <a16:creationId xmlns:a16="http://schemas.microsoft.com/office/drawing/2014/main" id="{94E871D2-50D9-4136-B297-B9E6976A4A35}"/>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Freeform 74">
              <a:extLst>
                <a:ext uri="{FF2B5EF4-FFF2-40B4-BE49-F238E27FC236}">
                  <a16:creationId xmlns:a16="http://schemas.microsoft.com/office/drawing/2014/main" id="{509EF2AF-93EA-4B1D-A244-C11FE37209BA}"/>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Rectangle 75">
              <a:extLst>
                <a:ext uri="{FF2B5EF4-FFF2-40B4-BE49-F238E27FC236}">
                  <a16:creationId xmlns:a16="http://schemas.microsoft.com/office/drawing/2014/main" id="{44E20B6B-DC1B-43A4-A2B4-BEB417DEC307}"/>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Line 76">
              <a:extLst>
                <a:ext uri="{FF2B5EF4-FFF2-40B4-BE49-F238E27FC236}">
                  <a16:creationId xmlns:a16="http://schemas.microsoft.com/office/drawing/2014/main" id="{717D004F-F348-4494-9758-AB8F02AA9195}"/>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Line 77">
              <a:extLst>
                <a:ext uri="{FF2B5EF4-FFF2-40B4-BE49-F238E27FC236}">
                  <a16:creationId xmlns:a16="http://schemas.microsoft.com/office/drawing/2014/main" id="{5E49C1E6-C258-4376-AE59-BFB264BFB300}"/>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78">
              <a:extLst>
                <a:ext uri="{FF2B5EF4-FFF2-40B4-BE49-F238E27FC236}">
                  <a16:creationId xmlns:a16="http://schemas.microsoft.com/office/drawing/2014/main" id="{1F2E5815-EACF-406B-A744-BD8DB4C8C784}"/>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79">
              <a:extLst>
                <a:ext uri="{FF2B5EF4-FFF2-40B4-BE49-F238E27FC236}">
                  <a16:creationId xmlns:a16="http://schemas.microsoft.com/office/drawing/2014/main" id="{51552DE5-E1E5-4349-B11E-F5C4F72021BF}"/>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80">
              <a:extLst>
                <a:ext uri="{FF2B5EF4-FFF2-40B4-BE49-F238E27FC236}">
                  <a16:creationId xmlns:a16="http://schemas.microsoft.com/office/drawing/2014/main" id="{59075E09-C18D-4901-8B16-D3532F277B69}"/>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81">
              <a:extLst>
                <a:ext uri="{FF2B5EF4-FFF2-40B4-BE49-F238E27FC236}">
                  <a16:creationId xmlns:a16="http://schemas.microsoft.com/office/drawing/2014/main" id="{EE55E6F9-8255-4A43-A81E-C7CF7B28A4D8}"/>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Rectangle 82">
              <a:extLst>
                <a:ext uri="{FF2B5EF4-FFF2-40B4-BE49-F238E27FC236}">
                  <a16:creationId xmlns:a16="http://schemas.microsoft.com/office/drawing/2014/main" id="{85A84122-8CBC-401D-8926-CEBDDFC3CC09}"/>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Rectangle 83">
              <a:extLst>
                <a:ext uri="{FF2B5EF4-FFF2-40B4-BE49-F238E27FC236}">
                  <a16:creationId xmlns:a16="http://schemas.microsoft.com/office/drawing/2014/main" id="{241F9613-BBE1-481B-A999-C2AB653B61D9}"/>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84">
              <a:extLst>
                <a:ext uri="{FF2B5EF4-FFF2-40B4-BE49-F238E27FC236}">
                  <a16:creationId xmlns:a16="http://schemas.microsoft.com/office/drawing/2014/main" id="{DD0AD973-9B70-42F8-9B04-42D9D1347593}"/>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Rectangle 85">
              <a:extLst>
                <a:ext uri="{FF2B5EF4-FFF2-40B4-BE49-F238E27FC236}">
                  <a16:creationId xmlns:a16="http://schemas.microsoft.com/office/drawing/2014/main" id="{C9CFD547-801D-4033-BD27-751AA61C08FB}"/>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Rectangle 86">
              <a:extLst>
                <a:ext uri="{FF2B5EF4-FFF2-40B4-BE49-F238E27FC236}">
                  <a16:creationId xmlns:a16="http://schemas.microsoft.com/office/drawing/2014/main" id="{62AACD2D-7DD8-42DD-A98F-D3B3C4C1B934}"/>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33" name="Straight Connector 32">
            <a:extLst>
              <a:ext uri="{FF2B5EF4-FFF2-40B4-BE49-F238E27FC236}">
                <a16:creationId xmlns:a16="http://schemas.microsoft.com/office/drawing/2014/main" id="{58250A50-AA2E-4AD3-BF32-81B3A727776F}"/>
              </a:ext>
            </a:extLst>
          </p:cNvPr>
          <p:cNvCxnSpPr>
            <a:cxnSpLocks/>
          </p:cNvCxnSpPr>
          <p:nvPr/>
        </p:nvCxnSpPr>
        <p:spPr>
          <a:xfrm>
            <a:off x="9723193"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1526410-6125-4C23-AECB-114BEE791923}"/>
              </a:ext>
            </a:extLst>
          </p:cNvPr>
          <p:cNvCxnSpPr>
            <a:cxnSpLocks/>
          </p:cNvCxnSpPr>
          <p:nvPr/>
        </p:nvCxnSpPr>
        <p:spPr>
          <a:xfrm>
            <a:off x="11161109"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5" name="AutoShape 7">
            <a:extLst>
              <a:ext uri="{FF2B5EF4-FFF2-40B4-BE49-F238E27FC236}">
                <a16:creationId xmlns:a16="http://schemas.microsoft.com/office/drawing/2014/main" id="{0CA8A13E-29E7-4882-B5DB-FAA4B44C7FDD}"/>
              </a:ext>
            </a:extLst>
          </p:cNvPr>
          <p:cNvCxnSpPr>
            <a:cxnSpLocks noChangeShapeType="1"/>
          </p:cNvCxnSpPr>
          <p:nvPr/>
        </p:nvCxnSpPr>
        <p:spPr bwMode="auto">
          <a:xfrm rot="5400000" flipH="1" flipV="1">
            <a:off x="7629009" y="1857859"/>
            <a:ext cx="1317600" cy="144000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cxnSp>
        <p:nvCxnSpPr>
          <p:cNvPr id="36" name="AutoShape 9">
            <a:extLst>
              <a:ext uri="{FF2B5EF4-FFF2-40B4-BE49-F238E27FC236}">
                <a16:creationId xmlns:a16="http://schemas.microsoft.com/office/drawing/2014/main" id="{39ADBA3E-08A6-4E7E-BF1B-2A509CE46422}"/>
              </a:ext>
            </a:extLst>
          </p:cNvPr>
          <p:cNvCxnSpPr>
            <a:cxnSpLocks noChangeShapeType="1"/>
          </p:cNvCxnSpPr>
          <p:nvPr/>
        </p:nvCxnSpPr>
        <p:spPr bwMode="auto">
          <a:xfrm rot="16200000" flipV="1">
            <a:off x="9066295" y="1857118"/>
            <a:ext cx="1318497" cy="144000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37" name="Rectangle 4">
            <a:extLst>
              <a:ext uri="{FF2B5EF4-FFF2-40B4-BE49-F238E27FC236}">
                <a16:creationId xmlns:a16="http://schemas.microsoft.com/office/drawing/2014/main" id="{799368A6-0FB5-4065-9F78-4D5E146C415C}"/>
              </a:ext>
            </a:extLst>
          </p:cNvPr>
          <p:cNvSpPr>
            <a:spLocks noChangeArrowheads="1"/>
          </p:cNvSpPr>
          <p:nvPr/>
        </p:nvSpPr>
        <p:spPr bwMode="auto">
          <a:xfrm>
            <a:off x="9795514" y="280708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38" name="AutoShape 7">
            <a:extLst>
              <a:ext uri="{FF2B5EF4-FFF2-40B4-BE49-F238E27FC236}">
                <a16:creationId xmlns:a16="http://schemas.microsoft.com/office/drawing/2014/main" id="{43F51701-D847-4788-9FC6-BEB06A8ED6E4}"/>
              </a:ext>
            </a:extLst>
          </p:cNvPr>
          <p:cNvCxnSpPr>
            <a:cxnSpLocks noChangeShapeType="1"/>
            <a:stCxn id="40" idx="1"/>
            <a:endCxn id="37" idx="5"/>
          </p:cNvCxnSpPr>
          <p:nvPr/>
        </p:nvCxnSpPr>
        <p:spPr bwMode="auto">
          <a:xfrm rot="5400000" flipH="1" flipV="1">
            <a:off x="9822512" y="3425627"/>
            <a:ext cx="535930" cy="706073"/>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40" name="Rectangle 3">
            <a:extLst>
              <a:ext uri="{FF2B5EF4-FFF2-40B4-BE49-F238E27FC236}">
                <a16:creationId xmlns:a16="http://schemas.microsoft.com/office/drawing/2014/main" id="{D6A4336E-BBDB-4B06-B7C0-D5AC8D42516F}"/>
              </a:ext>
            </a:extLst>
          </p:cNvPr>
          <p:cNvSpPr>
            <a:spLocks noChangeArrowheads="1"/>
          </p:cNvSpPr>
          <p:nvPr/>
        </p:nvSpPr>
        <p:spPr bwMode="auto">
          <a:xfrm>
            <a:off x="9089441"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41" name="Rectangle 5">
            <a:extLst>
              <a:ext uri="{FF2B5EF4-FFF2-40B4-BE49-F238E27FC236}">
                <a16:creationId xmlns:a16="http://schemas.microsoft.com/office/drawing/2014/main" id="{CD3CB7EA-3A22-4337-BE27-37E17CAFCC9F}"/>
              </a:ext>
            </a:extLst>
          </p:cNvPr>
          <p:cNvSpPr>
            <a:spLocks noChangeArrowheads="1"/>
          </p:cNvSpPr>
          <p:nvPr/>
        </p:nvSpPr>
        <p:spPr bwMode="auto">
          <a:xfrm>
            <a:off x="8366132" y="1248046"/>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ata Governance council chaired by CDO</a:t>
            </a:r>
          </a:p>
        </p:txBody>
      </p:sp>
      <p:sp>
        <p:nvSpPr>
          <p:cNvPr id="42" name="Rectangle 3">
            <a:extLst>
              <a:ext uri="{FF2B5EF4-FFF2-40B4-BE49-F238E27FC236}">
                <a16:creationId xmlns:a16="http://schemas.microsoft.com/office/drawing/2014/main" id="{DD68DE72-C711-4F77-A902-229060EAAADB}"/>
              </a:ext>
            </a:extLst>
          </p:cNvPr>
          <p:cNvSpPr>
            <a:spLocks noChangeArrowheads="1"/>
          </p:cNvSpPr>
          <p:nvPr/>
        </p:nvSpPr>
        <p:spPr bwMode="auto">
          <a:xfrm>
            <a:off x="10506651"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43" name="Elbow Connector 128">
            <a:extLst>
              <a:ext uri="{FF2B5EF4-FFF2-40B4-BE49-F238E27FC236}">
                <a16:creationId xmlns:a16="http://schemas.microsoft.com/office/drawing/2014/main" id="{1EDB7D8C-E8E9-49B0-B8DA-8C8C68AF5D51}"/>
              </a:ext>
            </a:extLst>
          </p:cNvPr>
          <p:cNvCxnSpPr>
            <a:cxnSpLocks/>
            <a:stCxn id="37" idx="5"/>
            <a:endCxn id="42" idx="1"/>
          </p:cNvCxnSpPr>
          <p:nvPr/>
        </p:nvCxnSpPr>
        <p:spPr>
          <a:xfrm rot="16200000" flipH="1">
            <a:off x="10531117" y="3423094"/>
            <a:ext cx="535930" cy="71113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51" name="Rectangle 3">
            <a:extLst>
              <a:ext uri="{FF2B5EF4-FFF2-40B4-BE49-F238E27FC236}">
                <a16:creationId xmlns:a16="http://schemas.microsoft.com/office/drawing/2014/main" id="{70996599-2AB6-45A8-A27C-1275B3464C01}"/>
              </a:ext>
            </a:extLst>
          </p:cNvPr>
          <p:cNvSpPr>
            <a:spLocks noChangeArrowheads="1"/>
          </p:cNvSpPr>
          <p:nvPr/>
        </p:nvSpPr>
        <p:spPr bwMode="auto">
          <a:xfrm>
            <a:off x="9089441"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52" name="Rectangle 3">
            <a:extLst>
              <a:ext uri="{FF2B5EF4-FFF2-40B4-BE49-F238E27FC236}">
                <a16:creationId xmlns:a16="http://schemas.microsoft.com/office/drawing/2014/main" id="{B3100300-9E8C-4629-92B7-26D1872DB5E4}"/>
              </a:ext>
            </a:extLst>
          </p:cNvPr>
          <p:cNvSpPr>
            <a:spLocks noChangeArrowheads="1"/>
          </p:cNvSpPr>
          <p:nvPr/>
        </p:nvSpPr>
        <p:spPr bwMode="auto">
          <a:xfrm>
            <a:off x="10506651"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cxnSp>
        <p:nvCxnSpPr>
          <p:cNvPr id="74" name="Straight Connector 73">
            <a:extLst>
              <a:ext uri="{FF2B5EF4-FFF2-40B4-BE49-F238E27FC236}">
                <a16:creationId xmlns:a16="http://schemas.microsoft.com/office/drawing/2014/main" id="{77D9C487-053D-490B-9A60-52A114F9E8D5}"/>
              </a:ext>
            </a:extLst>
          </p:cNvPr>
          <p:cNvCxnSpPr>
            <a:cxnSpLocks/>
          </p:cNvCxnSpPr>
          <p:nvPr/>
        </p:nvCxnSpPr>
        <p:spPr>
          <a:xfrm>
            <a:off x="6814894"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39B17C2-69BC-4489-830C-8BFA4A30484F}"/>
              </a:ext>
            </a:extLst>
          </p:cNvPr>
          <p:cNvCxnSpPr>
            <a:cxnSpLocks/>
          </p:cNvCxnSpPr>
          <p:nvPr/>
        </p:nvCxnSpPr>
        <p:spPr>
          <a:xfrm>
            <a:off x="8252810"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sp>
        <p:nvSpPr>
          <p:cNvPr id="76" name="Rectangle 4">
            <a:extLst>
              <a:ext uri="{FF2B5EF4-FFF2-40B4-BE49-F238E27FC236}">
                <a16:creationId xmlns:a16="http://schemas.microsoft.com/office/drawing/2014/main" id="{7BF54899-720F-43B3-9B6C-B499C555A438}"/>
              </a:ext>
            </a:extLst>
          </p:cNvPr>
          <p:cNvSpPr>
            <a:spLocks noChangeArrowheads="1"/>
          </p:cNvSpPr>
          <p:nvPr/>
        </p:nvSpPr>
        <p:spPr bwMode="auto">
          <a:xfrm>
            <a:off x="6887215" y="280708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77" name="AutoShape 7">
            <a:extLst>
              <a:ext uri="{FF2B5EF4-FFF2-40B4-BE49-F238E27FC236}">
                <a16:creationId xmlns:a16="http://schemas.microsoft.com/office/drawing/2014/main" id="{B7F93940-091F-4F3B-9EB8-62FE4325A5DC}"/>
              </a:ext>
            </a:extLst>
          </p:cNvPr>
          <p:cNvCxnSpPr>
            <a:cxnSpLocks noChangeShapeType="1"/>
            <a:stCxn id="78" idx="1"/>
            <a:endCxn id="76" idx="5"/>
          </p:cNvCxnSpPr>
          <p:nvPr/>
        </p:nvCxnSpPr>
        <p:spPr bwMode="auto">
          <a:xfrm rot="5400000" flipH="1" flipV="1">
            <a:off x="6914213" y="3425627"/>
            <a:ext cx="535930" cy="706073"/>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78" name="Rectangle 3">
            <a:extLst>
              <a:ext uri="{FF2B5EF4-FFF2-40B4-BE49-F238E27FC236}">
                <a16:creationId xmlns:a16="http://schemas.microsoft.com/office/drawing/2014/main" id="{2396E09C-0432-4874-ADEB-57D5D375D801}"/>
              </a:ext>
            </a:extLst>
          </p:cNvPr>
          <p:cNvSpPr>
            <a:spLocks noChangeArrowheads="1"/>
          </p:cNvSpPr>
          <p:nvPr/>
        </p:nvSpPr>
        <p:spPr bwMode="auto">
          <a:xfrm>
            <a:off x="6181142"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79" name="Rectangle 3">
            <a:extLst>
              <a:ext uri="{FF2B5EF4-FFF2-40B4-BE49-F238E27FC236}">
                <a16:creationId xmlns:a16="http://schemas.microsoft.com/office/drawing/2014/main" id="{8E243C19-B5AA-4A25-949E-F9D13CFFA8D8}"/>
              </a:ext>
            </a:extLst>
          </p:cNvPr>
          <p:cNvSpPr>
            <a:spLocks noChangeArrowheads="1"/>
          </p:cNvSpPr>
          <p:nvPr/>
        </p:nvSpPr>
        <p:spPr bwMode="auto">
          <a:xfrm>
            <a:off x="7598352"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99" name="Elbow Connector 128">
            <a:extLst>
              <a:ext uri="{FF2B5EF4-FFF2-40B4-BE49-F238E27FC236}">
                <a16:creationId xmlns:a16="http://schemas.microsoft.com/office/drawing/2014/main" id="{336A58B4-6AA6-4B4C-90CF-FD0A90252F7D}"/>
              </a:ext>
            </a:extLst>
          </p:cNvPr>
          <p:cNvCxnSpPr>
            <a:cxnSpLocks/>
            <a:stCxn id="76" idx="5"/>
            <a:endCxn id="79" idx="1"/>
          </p:cNvCxnSpPr>
          <p:nvPr/>
        </p:nvCxnSpPr>
        <p:spPr>
          <a:xfrm rot="16200000" flipH="1">
            <a:off x="7622818" y="3423094"/>
            <a:ext cx="535930" cy="71113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100" name="Rectangle 3">
            <a:extLst>
              <a:ext uri="{FF2B5EF4-FFF2-40B4-BE49-F238E27FC236}">
                <a16:creationId xmlns:a16="http://schemas.microsoft.com/office/drawing/2014/main" id="{A5BA80F0-BD02-4E85-91FD-1C0DB00A0A4C}"/>
              </a:ext>
            </a:extLst>
          </p:cNvPr>
          <p:cNvSpPr>
            <a:spLocks noChangeArrowheads="1"/>
          </p:cNvSpPr>
          <p:nvPr/>
        </p:nvSpPr>
        <p:spPr bwMode="auto">
          <a:xfrm>
            <a:off x="6181142"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101" name="Rectangle 3">
            <a:extLst>
              <a:ext uri="{FF2B5EF4-FFF2-40B4-BE49-F238E27FC236}">
                <a16:creationId xmlns:a16="http://schemas.microsoft.com/office/drawing/2014/main" id="{9B46E8DA-ED3A-45FE-89E4-53F95573E81F}"/>
              </a:ext>
            </a:extLst>
          </p:cNvPr>
          <p:cNvSpPr>
            <a:spLocks noChangeArrowheads="1"/>
          </p:cNvSpPr>
          <p:nvPr/>
        </p:nvSpPr>
        <p:spPr bwMode="auto">
          <a:xfrm>
            <a:off x="7598352"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20" name="Right Arrow 19">
            <a:extLst>
              <a:ext uri="{FF2B5EF4-FFF2-40B4-BE49-F238E27FC236}">
                <a16:creationId xmlns:a16="http://schemas.microsoft.com/office/drawing/2014/main" id="{348E1756-7AEA-46E4-8B57-B5D222D9BDAC}"/>
              </a:ext>
            </a:extLst>
          </p:cNvPr>
          <p:cNvSpPr/>
          <p:nvPr/>
        </p:nvSpPr>
        <p:spPr>
          <a:xfrm>
            <a:off x="5030289" y="3135087"/>
            <a:ext cx="824025"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3538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54.xml><?xml version="1.0" encoding="utf-8"?>
<p:tagLst xmlns:a="http://schemas.openxmlformats.org/drawingml/2006/main" xmlns:r="http://schemas.openxmlformats.org/officeDocument/2006/relationships" xmlns:p="http://schemas.openxmlformats.org/presentationml/2006/main">
  <p:tag name="APLORISLIBID" val="L2ca70907-f891-4a3d-9f7e-363ddaf5d026.1.X1cFrg=="/>
  <p:tag name="APLORISLIBHASH" val="1.162_mV3G/xSguNmvPSzwaW9V/SyazyY="/>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61.xml><?xml version="1.0" encoding="utf-8"?>
<p:tagLst xmlns:a="http://schemas.openxmlformats.org/drawingml/2006/main" xmlns:r="http://schemas.openxmlformats.org/officeDocument/2006/relationships" xmlns:p="http://schemas.openxmlformats.org/presentationml/2006/main">
  <p:tag name="APLORISLIBID" val="L7eb6b6e9-30cf-48d7-964a-5d023223fc24.1.ne4tyw=="/>
  <p:tag name="APLORISLIBHASH" val="1.162_T+sndJqP481pIXhTTHgryeAJWEo="/>
</p:tagLst>
</file>

<file path=ppt/tags/tag62.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63.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64.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heme/theme1.xml><?xml version="1.0" encoding="utf-8"?>
<a:theme xmlns:a="http://schemas.openxmlformats.org/drawingml/2006/main" name="5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3.xml><?xml version="1.0" encoding="utf-8"?>
<a:theme xmlns:a="http://schemas.openxmlformats.org/drawingml/2006/main" name="PPT Theme1 Aegon">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PPT Theme1 Aegon" id="{43EF5401-5D43-44F3-9F64-056179008D20}" vid="{3340B473-65F1-4B62-BDC7-0A8BA5B047D6}"/>
    </a:ext>
  </a:extLst>
</a:theme>
</file>

<file path=ppt/theme/theme4.xml><?xml version="1.0" encoding="utf-8"?>
<a:theme xmlns:a="http://schemas.openxmlformats.org/drawingml/2006/main" name="6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5.xml><?xml version="1.0" encoding="utf-8"?>
<a:theme xmlns:a="http://schemas.openxmlformats.org/drawingml/2006/main" name="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19_EY_A4_Proposal_Landscape">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3810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95363" rtl="0" eaLnBrk="1" fontAlgn="base" latinLnBrk="0" hangingPunct="1">
          <a:spcBef>
            <a:spcPts val="600"/>
          </a:spcBef>
          <a:spcAft>
            <a:spcPct val="0"/>
          </a:spcAft>
          <a:buClrTx/>
          <a:buSzTx/>
          <a:buFontTx/>
          <a:buNone/>
          <a:tabLst/>
          <a:defRPr kumimoji="0" sz="2000" b="0" i="0" u="none" strike="noStrike" cap="none" normalizeH="0" baseline="0" dirty="0" err="1"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0_EY_A4_Proposal_Landscape">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3810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95363" rtl="0" eaLnBrk="1" fontAlgn="base" latinLnBrk="0" hangingPunct="1">
          <a:spcBef>
            <a:spcPts val="600"/>
          </a:spcBef>
          <a:spcAft>
            <a:spcPct val="0"/>
          </a:spcAft>
          <a:buClrTx/>
          <a:buSzTx/>
          <a:buFontTx/>
          <a:buNone/>
          <a:tabLst/>
          <a:defRPr kumimoji="0" sz="2000" b="0" i="0" u="none" strike="noStrike" cap="none" normalizeH="0" baseline="0" dirty="0" err="1"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9.xml><?xml version="1.0" encoding="utf-8"?>
<a:theme xmlns:a="http://schemas.openxmlformats.org/drawingml/2006/main" name="4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fe6e0b6-a5a6-435d-956e-8490d4b03c3e" xsi:nil="true"/>
    <lcf76f155ced4ddcb4097134ff3c332f xmlns="70b66530-57a4-4e4b-9d52-f9541b1c438f">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Entire_x0020_Table_x0020_from_x0020_ADW xmlns="70b66530-57a4-4e4b-9d52-f9541b1c438f">true</Entire_x0020_Table_x0020_from_x0020_ADW>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5CA7BFEC7334443A722ABE889E79B1D" ma:contentTypeVersion="18" ma:contentTypeDescription="Create a new document." ma:contentTypeScope="" ma:versionID="b6c8e4d5386b462c4109615c05b85343">
  <xsd:schema xmlns:xsd="http://www.w3.org/2001/XMLSchema" xmlns:xs="http://www.w3.org/2001/XMLSchema" xmlns:p="http://schemas.microsoft.com/office/2006/metadata/properties" xmlns:ns1="http://schemas.microsoft.com/sharepoint/v3" xmlns:ns2="f4191670-dbf9-4832-b939-5aeaaa587b68" xmlns:ns3="70b66530-57a4-4e4b-9d52-f9541b1c438f" xmlns:ns4="bfe6e0b6-a5a6-435d-956e-8490d4b03c3e" targetNamespace="http://schemas.microsoft.com/office/2006/metadata/properties" ma:root="true" ma:fieldsID="10c7984d4d5700889b7ff43d45d1278e" ns1:_="" ns2:_="" ns3:_="" ns4:_="">
    <xsd:import namespace="http://schemas.microsoft.com/sharepoint/v3"/>
    <xsd:import namespace="f4191670-dbf9-4832-b939-5aeaaa587b68"/>
    <xsd:import namespace="70b66530-57a4-4e4b-9d52-f9541b1c438f"/>
    <xsd:import namespace="bfe6e0b6-a5a6-435d-956e-8490d4b03c3e"/>
    <xsd:element name="properties">
      <xsd:complexType>
        <xsd:sequence>
          <xsd:element name="documentManagement">
            <xsd:complexType>
              <xsd:all>
                <xsd:element ref="ns2:SharedWithUsers" minOccurs="0"/>
                <xsd:element ref="ns2:SharedWithDetails" minOccurs="0"/>
                <xsd:element ref="ns3:MediaServiceAutoTags" minOccurs="0"/>
                <xsd:element ref="ns3:MediaServiceMetadata" minOccurs="0"/>
                <xsd:element ref="ns3:MediaServiceFastMetadata" minOccurs="0"/>
                <xsd:element ref="ns1:_ip_UnifiedCompliancePolicyProperties" minOccurs="0"/>
                <xsd:element ref="ns1:_ip_UnifiedCompliancePolicyUIAction" minOccurs="0"/>
                <xsd:element ref="ns3:MediaServiceAutoKeyPoints" minOccurs="0"/>
                <xsd:element ref="ns3:MediaServiceKeyPoint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Entire_x0020_Table_x0020_from_x0020_ADW"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191670-dbf9-4832-b939-5aeaaa587b6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b66530-57a4-4e4b-9d52-f9541b1c438f" elementFormDefault="qualified">
    <xsd:import namespace="http://schemas.microsoft.com/office/2006/documentManagement/types"/>
    <xsd:import namespace="http://schemas.microsoft.com/office/infopath/2007/PartnerControls"/>
    <xsd:element name="MediaServiceAutoTags" ma:index="10" nillable="true" ma:displayName="Tags" ma:internalName="MediaServiceAutoTags" ma:readOnly="true">
      <xsd:simpleType>
        <xsd:restriction base="dms:Text"/>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Entire_x0020_Table_x0020_from_x0020_ADW" ma:index="22" nillable="true" ma:displayName="Entire Table from ADW" ma:default="1" ma:internalName="Entire_x0020_Table_x0020_from_x0020_ADW">
      <xsd:simpleType>
        <xsd:restriction base="dms:Boolea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3ecf46e-890a-4d8f-8227-d99d79ddb86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fe6e0b6-a5a6-435d-956e-8490d4b03c3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9b6ad801-a48a-483f-873d-958f1eba607a}" ma:internalName="TaxCatchAll" ma:showField="CatchAllData" ma:web="0fb28e36-978b-49eb-a0fa-46de6894069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F3E76D-ED5B-472A-8484-883ABB02727A}">
  <ds:schemaRefs>
    <ds:schemaRef ds:uri="219c63b2-01cf-4a44-bff2-3b6feb06fedf"/>
    <ds:schemaRef ds:uri="c7965f95-b4bf-46f9-943b-8632934390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9D491D-380F-477E-AD91-C365A3BCC0F3}"/>
</file>

<file path=customXml/itemProps3.xml><?xml version="1.0" encoding="utf-8"?>
<ds:datastoreItem xmlns:ds="http://schemas.openxmlformats.org/officeDocument/2006/customXml" ds:itemID="{739CF4CF-A226-4BE8-A077-9A1AD25C8E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114</Words>
  <Application>Microsoft Office PowerPoint</Application>
  <PresentationFormat>Widescreen</PresentationFormat>
  <Paragraphs>872</Paragraphs>
  <Slides>26</Slides>
  <Notes>11</Notes>
  <HiddenSlides>0</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26</vt:i4>
      </vt:variant>
    </vt:vector>
  </HeadingPairs>
  <TitlesOfParts>
    <vt:vector size="49" baseType="lpstr">
      <vt:lpstr>Arial</vt:lpstr>
      <vt:lpstr>Arial-BoldMT</vt:lpstr>
      <vt:lpstr>ArialMT</vt:lpstr>
      <vt:lpstr>Calibri</vt:lpstr>
      <vt:lpstr>Calibri Light</vt:lpstr>
      <vt:lpstr>Corbel</vt:lpstr>
      <vt:lpstr>EYInterstate</vt:lpstr>
      <vt:lpstr>EYInterstate Light</vt:lpstr>
      <vt:lpstr>EYInterstate Regular</vt:lpstr>
      <vt:lpstr>Fira Sans Light</vt:lpstr>
      <vt:lpstr>Verdana</vt:lpstr>
      <vt:lpstr>Wingdings</vt:lpstr>
      <vt:lpstr>Wingdings 3</vt:lpstr>
      <vt:lpstr>5_Kames Theme</vt:lpstr>
      <vt:lpstr>3_Kames Theme</vt:lpstr>
      <vt:lpstr>PPT Theme1 Aegon</vt:lpstr>
      <vt:lpstr>6_Kames Theme</vt:lpstr>
      <vt:lpstr>Theme1</vt:lpstr>
      <vt:lpstr>19_EY_A4_Proposal_Landscape</vt:lpstr>
      <vt:lpstr>20_EY_A4_Proposal_Landscape</vt:lpstr>
      <vt:lpstr>EY dark background</vt:lpstr>
      <vt:lpstr>4_Kames Theme</vt:lpstr>
      <vt:lpstr>think-cell Slide</vt:lpstr>
      <vt:lpstr>Technical Design Authority CDO: Data Strategy and Data Governance Update</vt:lpstr>
      <vt:lpstr>PowerPoint Presentation</vt:lpstr>
      <vt:lpstr>Guiding Coal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progress has been made so for in (re)launching Data Governance</vt:lpstr>
      <vt:lpstr>Timeline for relaunching Data Governance within Aegon Asset Management</vt:lpstr>
      <vt:lpstr>Guiding Coalition: Decisions for the Data Governance charter</vt:lpstr>
      <vt:lpstr>Data Strategy Objectives and Use Cases</vt:lpstr>
      <vt:lpstr>PowerPoint Presentation</vt:lpstr>
      <vt:lpstr>AAM’s Data Strategy</vt:lpstr>
      <vt:lpstr>PowerPoint Presentation</vt:lpstr>
      <vt:lpstr>PowerPoint Presentation</vt:lpstr>
      <vt:lpstr>Timeline for approval of Roadmap objectives within Aegon Asset Management</vt:lpstr>
      <vt:lpstr>PowerPoint Presentation</vt:lpstr>
      <vt:lpstr>PowerPoint Presentation</vt:lpstr>
      <vt:lpstr>PowerPoint Presentation</vt:lpstr>
      <vt:lpstr>PowerPoint Presentation</vt:lpstr>
      <vt:lpstr>PowerPoint Presentation</vt:lpstr>
      <vt:lpstr>Project Raft Support</vt:lpstr>
      <vt:lpstr>Support on project RA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eting with core team</dc:title>
  <dc:creator>Simon van Oppen</dc:creator>
  <cp:lastModifiedBy>Schurgers, Monique</cp:lastModifiedBy>
  <cp:revision>2</cp:revision>
  <dcterms:created xsi:type="dcterms:W3CDTF">2022-05-18T06:51:10Z</dcterms:created>
  <dcterms:modified xsi:type="dcterms:W3CDTF">2022-09-05T13:1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CA7BFEC7334443A722ABE889E79B1D</vt:lpwstr>
  </property>
  <property fmtid="{D5CDD505-2E9C-101B-9397-08002B2CF9AE}" pid="3" name="MediaServiceImageTags">
    <vt:lpwstr/>
  </property>
</Properties>
</file>